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4"/>
  </p:sldMasterIdLst>
  <p:notesMasterIdLst>
    <p:notesMasterId r:id="rId13"/>
  </p:notesMasterIdLst>
  <p:handoutMasterIdLst>
    <p:handoutMasterId r:id="rId14"/>
  </p:handout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</p:sldIdLst>
  <p:sldSz cx="12192000" cy="6858000"/>
  <p:notesSz cx="6858000" cy="9144000"/>
  <p:custDataLst>
    <p:tags r:id="rId15"/>
  </p:custDataLst>
  <p:defaultTextStyle>
    <a:defPPr rtl="0"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4" autoAdjust="0"/>
    <p:restoredTop sz="96747" autoAdjust="0"/>
  </p:normalViewPr>
  <p:slideViewPr>
    <p:cSldViewPr snapToGrid="0">
      <p:cViewPr varScale="1">
        <p:scale>
          <a:sx n="118" d="100"/>
          <a:sy n="118" d="100"/>
        </p:scale>
        <p:origin x="110" y="10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96" d="100"/>
          <a:sy n="96" d="100"/>
        </p:scale>
        <p:origin x="289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5B66E5-15AA-4745-8A67-3CE257BEE3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C844A45-21B3-834A-A491-E4E4B9DC11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C039FDB-18A0-074D-8BA3-A4C3DE896AF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8E6D13E5-4CEC-3A4A-8E5D-AFCEE7512EE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322844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845EC85A-1715-4E3C-9C76-574187326578}" type="datetime1">
              <a:rPr lang="de-DE" noProof="0" smtClean="0"/>
              <a:t>07.02.2024</a:t>
            </a:fld>
            <a:endParaRPr lang="de-DE" noProof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de-DE" noProof="0"/>
              <a:t>Textmasterformate durch Klicken bearbeiten</a:t>
            </a:r>
          </a:p>
          <a:p>
            <a:pPr lvl="1" rtl="0"/>
            <a:r>
              <a:rPr lang="de-DE" noProof="0"/>
              <a:t>Zweite Ebene</a:t>
            </a:r>
          </a:p>
          <a:p>
            <a:pPr lvl="2" rtl="0"/>
            <a:r>
              <a:rPr lang="de-DE" noProof="0"/>
              <a:t>Dritte Ebene</a:t>
            </a:r>
          </a:p>
          <a:p>
            <a:pPr lvl="3" rtl="0"/>
            <a:r>
              <a:rPr lang="de-DE" noProof="0"/>
              <a:t>Vierte Ebene</a:t>
            </a:r>
          </a:p>
          <a:p>
            <a:pPr lvl="4" rtl="0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A89C7E07-3C67-C64C-8DA0-0404F6303970}" type="slidenum">
              <a:rPr lang="de-DE" noProof="0" smtClean="0"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0325283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7054" y="2116182"/>
            <a:ext cx="5491571" cy="1514019"/>
          </a:xfrm>
          <a:prstGeom prst="rect">
            <a:avLst/>
          </a:prstGeom>
        </p:spPr>
        <p:txBody>
          <a:bodyPr lIns="0" tIns="0" rIns="0" bIns="0" rtlCol="0" anchor="b">
            <a:noAutofit/>
          </a:bodyPr>
          <a:lstStyle>
            <a:lvl1pPr algn="l"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de-DE" noProof="0"/>
              <a:t>Mastertitelformat bearbeiten</a:t>
            </a:r>
            <a:endParaRPr lang="de-DE" noProof="0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26C18C3-ED25-DD4B-BA72-24932D54DE3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" y="758752"/>
            <a:ext cx="6099248" cy="6099248"/>
            <a:chOff x="0" y="12289"/>
            <a:chExt cx="3550" cy="3551"/>
          </a:xfrm>
        </p:grpSpPr>
        <p:sp>
          <p:nvSpPr>
            <p:cNvPr id="10" name="Freihand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11" name="Freihand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12" name="Freihand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  <p:sp>
        <p:nvSpPr>
          <p:cNvPr id="18" name="Textplatzhalt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7055" y="4549553"/>
            <a:ext cx="5491570" cy="953337"/>
          </a:xfrm>
        </p:spPr>
        <p:txBody>
          <a:bodyPr lIns="0" tIns="0" rIns="0" bIns="0" rtlCol="0">
            <a:no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69706A2-3726-FE4E-B923-E75D48597816}"/>
              </a:ext>
            </a:extLst>
          </p:cNvPr>
          <p:cNvCxnSpPr>
            <a:cxnSpLocks/>
          </p:cNvCxnSpPr>
          <p:nvPr userDrawn="1"/>
        </p:nvCxnSpPr>
        <p:spPr>
          <a:xfrm>
            <a:off x="6367055" y="4252111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71085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BDEF3328-825B-3946-8472-DB93D6A32867}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20" name="Freihandform 19">
              <a:extLst>
                <a:ext uri="{FF2B5EF4-FFF2-40B4-BE49-F238E27FC236}">
                  <a16:creationId xmlns:a16="http://schemas.microsoft.com/office/drawing/2014/main" id="{4E4E09DF-AF21-0E4A-9838-14DFBFFED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1" name="Freihandform 20">
              <a:extLst>
                <a:ext uri="{FF2B5EF4-FFF2-40B4-BE49-F238E27FC236}">
                  <a16:creationId xmlns:a16="http://schemas.microsoft.com/office/drawing/2014/main" id="{653F54AE-9BC1-3A45-A129-4028EADE4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2" name="Freihandform 21">
              <a:extLst>
                <a:ext uri="{FF2B5EF4-FFF2-40B4-BE49-F238E27FC236}">
                  <a16:creationId xmlns:a16="http://schemas.microsoft.com/office/drawing/2014/main" id="{254F6D22-4944-974A-999E-F9E22F159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  <p:sp>
        <p:nvSpPr>
          <p:cNvPr id="32" name="Titel 1">
            <a:extLst>
              <a:ext uri="{FF2B5EF4-FFF2-40B4-BE49-F238E27FC236}">
                <a16:creationId xmlns:a16="http://schemas.microsoft.com/office/drawing/2014/main" id="{467E05B6-B7CB-1E4F-96BA-4B8CFE8B63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023" y="879063"/>
            <a:ext cx="4941477" cy="610863"/>
          </a:xfrm>
          <a:prstGeom prst="rect">
            <a:avLst/>
          </a:prstGeom>
        </p:spPr>
        <p:txBody>
          <a:bodyPr lIns="0" tIns="0" rIns="0" bIns="0" rtlCol="0" anchor="b" anchorCtr="0">
            <a:normAutofit/>
          </a:bodyPr>
          <a:lstStyle>
            <a:lvl1pPr>
              <a:defRPr sz="4400" b="1" i="0">
                <a:latin typeface="+mj-lt"/>
              </a:defRPr>
            </a:lvl1pPr>
          </a:lstStyle>
          <a:p>
            <a:pPr rtl="0"/>
            <a:r>
              <a:rPr lang="de-DE" noProof="0"/>
              <a:t>Mastertitelformat bearbeiten</a:t>
            </a:r>
            <a:endParaRPr lang="de-DE" noProof="0" dirty="0"/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51DEB652-BD6A-BD41-B85E-704D2C41A1C4}"/>
              </a:ext>
            </a:extLst>
          </p:cNvPr>
          <p:cNvCxnSpPr>
            <a:cxnSpLocks/>
          </p:cNvCxnSpPr>
          <p:nvPr userDrawn="1"/>
        </p:nvCxnSpPr>
        <p:spPr>
          <a:xfrm>
            <a:off x="952500" y="1939108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A6147D10-E7D7-8F40-AF69-7263987293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64023" y="2300984"/>
            <a:ext cx="4827178" cy="404216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>
            <a:lvl1pPr marL="0" indent="0">
              <a:buNone/>
              <a:defRPr sz="1800" b="0" i="0" spc="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0EE708-F36B-444B-9A8B-D48D69535E45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362700" y="2300984"/>
            <a:ext cx="4764829" cy="404216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>
            <a:lvl1pPr marL="0" indent="0">
              <a:buNone/>
              <a:defRPr sz="1800" b="0" i="0" spc="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E81957B7-CEA6-A446-A203-471CF9A57F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64023" y="2799146"/>
            <a:ext cx="4827178" cy="1942138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>
            <a:lvl1pPr marL="285750" indent="-285750">
              <a:lnSpc>
                <a:spcPct val="100000"/>
              </a:lnSpc>
              <a:buFont typeface="Wingdings" pitchFamily="2" charset="2"/>
              <a:buChar char="§"/>
              <a:defRPr sz="16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E40D4044-0F7B-0647-BAB5-16B23EBD9EC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62700" y="2799146"/>
            <a:ext cx="4756241" cy="1942138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>
            <a:lvl1pPr marL="285750" indent="-285750">
              <a:lnSpc>
                <a:spcPct val="100000"/>
              </a:lnSpc>
              <a:buFont typeface="Wingdings" pitchFamily="2" charset="2"/>
              <a:buChar char="§"/>
              <a:defRPr sz="16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ED51C063-0222-064B-8A2E-485FE9EAC10D}"/>
              </a:ext>
            </a:extLst>
          </p:cNvPr>
          <p:cNvCxnSpPr>
            <a:cxnSpLocks/>
          </p:cNvCxnSpPr>
          <p:nvPr userDrawn="1"/>
        </p:nvCxnSpPr>
        <p:spPr>
          <a:xfrm>
            <a:off x="6362700" y="1939108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914D182-A7DD-4F7B-B207-262854316ED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pPr rtl="0"/>
            <a:fld id="{DF906D89-C7A0-4006-838C-E006FA6B5FAA}" type="datetime4">
              <a:rPr lang="de-DE" noProof="0" smtClean="0">
                <a:latin typeface="+mn-lt"/>
              </a:rPr>
              <a:t>7. Februar 2024</a:t>
            </a:fld>
            <a:endParaRPr lang="de-DE" noProof="0" dirty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0B29252-5D0B-4B9D-9FBD-8EC0929FE0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rtlCol="0"/>
          <a:lstStyle/>
          <a:p>
            <a:pPr rtl="0"/>
            <a:r>
              <a:rPr lang="de-DE" noProof="0" dirty="0"/>
              <a:t>Jahresbericht</a:t>
            </a:r>
            <a:endParaRPr lang="de-DE" b="0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B4FEF6-E217-4110-BBF5-C4B77ADC84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 rtl="0"/>
            <a:fld id="{294A09A9-5501-47C1-A89A-A340965A2BE2}" type="slidenum">
              <a:rPr lang="de-DE" noProof="0" smtClean="0"/>
              <a:pPr rtl="0"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50425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304">
          <p15:clr>
            <a:srgbClr val="FBAE40"/>
          </p15:clr>
        </p15:guide>
        <p15:guide id="4" pos="5736">
          <p15:clr>
            <a:srgbClr val="FBAE40"/>
          </p15:clr>
        </p15:guide>
        <p15:guide id="5" pos="1944">
          <p15:clr>
            <a:srgbClr val="FBAE40"/>
          </p15:clr>
        </p15:guide>
        <p15:guide id="6" pos="4008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440">
          <p15:clr>
            <a:srgbClr val="FBAE40"/>
          </p15:clr>
        </p15:guide>
        <p15:guide id="9" orient="horz" pos="552">
          <p15:clr>
            <a:srgbClr val="FBAE40"/>
          </p15:clr>
        </p15:guide>
        <p15:guide id="10" pos="5352">
          <p15:clr>
            <a:srgbClr val="FBAE40"/>
          </p15:clr>
        </p15:guide>
        <p15:guide id="11" pos="364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868B08E5-2F7C-7749-8BDF-386EAF974BB0}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38" name="Freihandform 37">
              <a:extLst>
                <a:ext uri="{FF2B5EF4-FFF2-40B4-BE49-F238E27FC236}">
                  <a16:creationId xmlns:a16="http://schemas.microsoft.com/office/drawing/2014/main" id="{F3E300C0-0B72-9048-9E16-2166E1A88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39" name="Freihandform 38">
              <a:extLst>
                <a:ext uri="{FF2B5EF4-FFF2-40B4-BE49-F238E27FC236}">
                  <a16:creationId xmlns:a16="http://schemas.microsoft.com/office/drawing/2014/main" id="{E4AA520D-9D51-3A42-B9B1-DF72169BC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40" name="Freihandform 39">
              <a:extLst>
                <a:ext uri="{FF2B5EF4-FFF2-40B4-BE49-F238E27FC236}">
                  <a16:creationId xmlns:a16="http://schemas.microsoft.com/office/drawing/2014/main" id="{D5F2735E-137C-DB47-AEF0-EFC871A32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  <p:sp>
        <p:nvSpPr>
          <p:cNvPr id="32" name="Titel 1">
            <a:extLst>
              <a:ext uri="{FF2B5EF4-FFF2-40B4-BE49-F238E27FC236}">
                <a16:creationId xmlns:a16="http://schemas.microsoft.com/office/drawing/2014/main" id="{467E05B6-B7CB-1E4F-96BA-4B8CFE8B63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023" y="879063"/>
            <a:ext cx="4941477" cy="610863"/>
          </a:xfrm>
          <a:prstGeom prst="rect">
            <a:avLst/>
          </a:prstGeom>
        </p:spPr>
        <p:txBody>
          <a:bodyPr lIns="0" tIns="0" rIns="0" bIns="0" rtlCol="0" anchor="b" anchorCtr="0">
            <a:normAutofit/>
          </a:bodyPr>
          <a:lstStyle>
            <a:lvl1pPr>
              <a:defRPr sz="4400" b="1" i="0">
                <a:latin typeface="+mj-lt"/>
              </a:defRPr>
            </a:lvl1pPr>
          </a:lstStyle>
          <a:p>
            <a:pPr rtl="0"/>
            <a:r>
              <a:rPr lang="de-DE" noProof="0"/>
              <a:t>Mastertitelformat bearbeiten</a:t>
            </a:r>
            <a:endParaRPr lang="de-DE" noProof="0" dirty="0"/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51DEB652-BD6A-BD41-B85E-704D2C41A1C4}"/>
              </a:ext>
            </a:extLst>
          </p:cNvPr>
          <p:cNvCxnSpPr>
            <a:cxnSpLocks/>
          </p:cNvCxnSpPr>
          <p:nvPr userDrawn="1"/>
        </p:nvCxnSpPr>
        <p:spPr>
          <a:xfrm>
            <a:off x="952500" y="1939108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A6147D10-E7D7-8F40-AF69-7263987293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52500" y="2300156"/>
            <a:ext cx="3036477" cy="40421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1800" spc="0" baseline="0" dirty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rtl="0">
              <a:buNone/>
            </a:pPr>
            <a:r>
              <a:rPr lang="de-DE" noProof="0"/>
              <a:t>Mastertextformat bearbeiten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E81957B7-CEA6-A446-A203-471CF9A57F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52500" y="2799146"/>
            <a:ext cx="3036477" cy="1942138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>
            <a:lvl1pPr marL="285750" indent="-285750">
              <a:lnSpc>
                <a:spcPct val="100000"/>
              </a:lnSpc>
              <a:buFont typeface="Wingdings" pitchFamily="2" charset="2"/>
              <a:buChar char="§"/>
              <a:defRPr sz="16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057DFE0A-61D9-1B48-8196-EA94D04685DD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569372" y="2300156"/>
            <a:ext cx="3036477" cy="40421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1800" spc="0" baseline="0" dirty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rtl="0">
              <a:buNone/>
            </a:pPr>
            <a:r>
              <a:rPr lang="de-DE" noProof="0"/>
              <a:t>Mastertextformat bearbeiten</a:t>
            </a:r>
          </a:p>
        </p:txBody>
      </p:sp>
      <p:sp>
        <p:nvSpPr>
          <p:cNvPr id="21" name="Inhaltsplatzhalter 3">
            <a:extLst>
              <a:ext uri="{FF2B5EF4-FFF2-40B4-BE49-F238E27FC236}">
                <a16:creationId xmlns:a16="http://schemas.microsoft.com/office/drawing/2014/main" id="{C946754A-F105-644E-99A4-DC80B9944243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69372" y="2799146"/>
            <a:ext cx="3050628" cy="1942138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>
            <a:lvl1pPr marL="285750" indent="-285750">
              <a:lnSpc>
                <a:spcPct val="100000"/>
              </a:lnSpc>
              <a:buFont typeface="Wingdings" pitchFamily="2" charset="2"/>
              <a:buChar char="§"/>
              <a:defRPr sz="16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368648FC-FC9A-5645-8F0C-390FFFAE18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8187017" y="2300156"/>
            <a:ext cx="3036477" cy="40421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1800" spc="0" baseline="0" dirty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rtl="0">
              <a:buNone/>
            </a:pPr>
            <a:r>
              <a:rPr lang="de-DE" noProof="0"/>
              <a:t>Mastertextformat bearbeiten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BBB849DC-B114-D145-9879-4FE0688BF57E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7017" y="2799146"/>
            <a:ext cx="3036477" cy="1942138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>
            <a:lvl1pPr marL="285750" indent="-285750">
              <a:lnSpc>
                <a:spcPct val="100000"/>
              </a:lnSpc>
              <a:buFont typeface="Wingdings" pitchFamily="2" charset="2"/>
              <a:buChar char="§"/>
              <a:defRPr sz="16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9F0C4CE5-5F02-B143-8FD1-1B235D270DAC}"/>
              </a:ext>
            </a:extLst>
          </p:cNvPr>
          <p:cNvCxnSpPr>
            <a:cxnSpLocks/>
          </p:cNvCxnSpPr>
          <p:nvPr userDrawn="1"/>
        </p:nvCxnSpPr>
        <p:spPr>
          <a:xfrm>
            <a:off x="4569372" y="1939108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289A8C14-DB28-F34E-8098-168D4C75AF23}"/>
              </a:ext>
            </a:extLst>
          </p:cNvPr>
          <p:cNvCxnSpPr>
            <a:cxnSpLocks/>
          </p:cNvCxnSpPr>
          <p:nvPr userDrawn="1"/>
        </p:nvCxnSpPr>
        <p:spPr>
          <a:xfrm>
            <a:off x="8187017" y="1939108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0FA07F3-F8E4-4505-85EC-22734AC6879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pPr rtl="0"/>
            <a:fld id="{8B06C608-88DB-4A46-92B6-773F3485F724}" type="datetime4">
              <a:rPr lang="de-DE" noProof="0" smtClean="0">
                <a:latin typeface="+mn-lt"/>
              </a:rPr>
              <a:t>7. Februar 2024</a:t>
            </a:fld>
            <a:endParaRPr lang="de-DE" noProof="0" dirty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5165D22-FEF5-4F30-8822-5D2378806A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rtlCol="0"/>
          <a:lstStyle/>
          <a:p>
            <a:pPr rtl="0"/>
            <a:r>
              <a:rPr lang="de-DE" noProof="0" dirty="0"/>
              <a:t>Jahresbericht</a:t>
            </a:r>
            <a:endParaRPr lang="de-DE" b="0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40F86B-3DA3-4708-AAF5-387BA115C4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 rtl="0"/>
            <a:fld id="{294A09A9-5501-47C1-A89A-A340965A2BE2}" type="slidenum">
              <a:rPr lang="de-DE" noProof="0" smtClean="0"/>
              <a:pPr rtl="0"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27948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520" userDrawn="1">
          <p15:clr>
            <a:srgbClr val="FBAE40"/>
          </p15:clr>
        </p15:guide>
        <p15:guide id="4" pos="5160" userDrawn="1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440">
          <p15:clr>
            <a:srgbClr val="FBAE40"/>
          </p15:clr>
        </p15:guide>
        <p15:guide id="9" orient="horz" pos="552">
          <p15:clr>
            <a:srgbClr val="FBAE40"/>
          </p15:clr>
        </p15:guide>
        <p15:guide id="10" pos="4800" userDrawn="1">
          <p15:clr>
            <a:srgbClr val="FBAE40"/>
          </p15:clr>
        </p15:guide>
        <p15:guide id="11" pos="2880" userDrawn="1">
          <p15:clr>
            <a:srgbClr val="FBAE40"/>
          </p15:clr>
        </p15:guide>
        <p15:guide id="12" orient="horz" pos="175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sammenfassung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el 1">
            <a:extLst>
              <a:ext uri="{FF2B5EF4-FFF2-40B4-BE49-F238E27FC236}">
                <a16:creationId xmlns:a16="http://schemas.microsoft.com/office/drawing/2014/main" id="{467E05B6-B7CB-1E4F-96BA-4B8CFE8B63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023" y="879063"/>
            <a:ext cx="4941477" cy="610863"/>
          </a:xfrm>
          <a:prstGeom prst="rect">
            <a:avLst/>
          </a:prstGeom>
        </p:spPr>
        <p:txBody>
          <a:bodyPr lIns="0" tIns="0" rIns="0" bIns="0" rtlCol="0" anchor="b" anchorCtr="0">
            <a:normAutofit/>
          </a:bodyPr>
          <a:lstStyle>
            <a:lvl1pPr>
              <a:defRPr sz="4400" b="1" i="0">
                <a:latin typeface="+mj-lt"/>
              </a:defRPr>
            </a:lvl1pPr>
          </a:lstStyle>
          <a:p>
            <a:pPr rtl="0"/>
            <a:r>
              <a:rPr lang="de-DE" noProof="0"/>
              <a:t>Mastertitelformat bearbeiten</a:t>
            </a:r>
            <a:endParaRPr lang="de-DE" noProof="0" dirty="0"/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51DEB652-BD6A-BD41-B85E-704D2C41A1C4}"/>
              </a:ext>
            </a:extLst>
          </p:cNvPr>
          <p:cNvCxnSpPr>
            <a:cxnSpLocks/>
          </p:cNvCxnSpPr>
          <p:nvPr userDrawn="1"/>
        </p:nvCxnSpPr>
        <p:spPr>
          <a:xfrm>
            <a:off x="952500" y="1939108"/>
            <a:ext cx="21348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DA8C895-11B9-EA40-B0F8-0F4FE98815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2500" y="2656904"/>
            <a:ext cx="4838700" cy="574318"/>
          </a:xfrm>
        </p:spPr>
        <p:txBody>
          <a:bodyPr rtlCol="0">
            <a:noAutofit/>
          </a:bodyPr>
          <a:lstStyle>
            <a:lvl1pPr marL="0" indent="0">
              <a:buNone/>
              <a:defRPr sz="1600">
                <a:latin typeface="+mn-lt"/>
              </a:defRPr>
            </a:lvl1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47A1EE0-4011-3749-B01C-FC489EEDF880}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8870040" y="0"/>
            <a:ext cx="3325208" cy="3325208"/>
            <a:chOff x="0" y="12289"/>
            <a:chExt cx="3550" cy="3551"/>
          </a:xfrm>
        </p:grpSpPr>
        <p:sp>
          <p:nvSpPr>
            <p:cNvPr id="16" name="Freihandform 15">
              <a:extLst>
                <a:ext uri="{FF2B5EF4-FFF2-40B4-BE49-F238E27FC236}">
                  <a16:creationId xmlns:a16="http://schemas.microsoft.com/office/drawing/2014/main" id="{17EED68A-6660-2643-BBFB-B6AB92A7C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17" name="Freihandform 16">
              <a:extLst>
                <a:ext uri="{FF2B5EF4-FFF2-40B4-BE49-F238E27FC236}">
                  <a16:creationId xmlns:a16="http://schemas.microsoft.com/office/drawing/2014/main" id="{BECF9FB8-F6C7-C54D-99F4-11FDF26D7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18" name="Freihandform 17">
              <a:extLst>
                <a:ext uri="{FF2B5EF4-FFF2-40B4-BE49-F238E27FC236}">
                  <a16:creationId xmlns:a16="http://schemas.microsoft.com/office/drawing/2014/main" id="{46C7C62D-7D3B-934C-AFF9-0F10E727B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85D552-3AFC-4D21-A944-9D41E128A9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52500" y="2286000"/>
            <a:ext cx="4838700" cy="315915"/>
          </a:xfrm>
        </p:spPr>
        <p:txBody>
          <a:bodyPr rtlCol="0">
            <a:noAutofit/>
          </a:bodyPr>
          <a:lstStyle>
            <a:lvl1pPr>
              <a:buNone/>
              <a:defRPr sz="1800" b="0" spc="0" baseline="0">
                <a:solidFill>
                  <a:schemeClr val="tx2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BE8C2EDB-9C70-49A2-865C-E5CD77D3E7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3655" y="3841846"/>
            <a:ext cx="4838700" cy="636754"/>
          </a:xfrm>
        </p:spPr>
        <p:txBody>
          <a:bodyPr rtlCol="0">
            <a:noAutofit/>
          </a:bodyPr>
          <a:lstStyle>
            <a:lvl1pPr marL="0" indent="0">
              <a:buNone/>
              <a:defRPr sz="1600">
                <a:latin typeface="+mn-lt"/>
              </a:defRPr>
            </a:lvl1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EE50320A-D017-45C6-9986-94BC43911E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53655" y="3470942"/>
            <a:ext cx="4838700" cy="315915"/>
          </a:xfrm>
        </p:spPr>
        <p:txBody>
          <a:bodyPr rtlCol="0">
            <a:noAutofit/>
          </a:bodyPr>
          <a:lstStyle>
            <a:lvl1pPr>
              <a:buNone/>
              <a:defRPr sz="1800" b="0" spc="0" baseline="0">
                <a:solidFill>
                  <a:schemeClr val="tx2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673EB498-F5D2-4E15-990A-2AFA4A377C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2500" y="5017901"/>
            <a:ext cx="4838700" cy="908340"/>
          </a:xfrm>
        </p:spPr>
        <p:txBody>
          <a:bodyPr rtlCol="0">
            <a:noAutofit/>
          </a:bodyPr>
          <a:lstStyle>
            <a:lvl1pPr marL="0" indent="0">
              <a:buNone/>
              <a:defRPr sz="1600">
                <a:latin typeface="+mn-lt"/>
              </a:defRPr>
            </a:lvl1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1F528150-326B-4BB3-AC38-7FC805DB6B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2500" y="4646997"/>
            <a:ext cx="4838700" cy="315915"/>
          </a:xfrm>
        </p:spPr>
        <p:txBody>
          <a:bodyPr rtlCol="0">
            <a:noAutofit/>
          </a:bodyPr>
          <a:lstStyle>
            <a:lvl1pPr>
              <a:buNone/>
              <a:defRPr sz="1800" b="0" spc="0" baseline="0">
                <a:solidFill>
                  <a:schemeClr val="tx2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20EBEFF7-AECA-409B-9ACC-A63A168283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9647" y="2656904"/>
            <a:ext cx="4838700" cy="574318"/>
          </a:xfrm>
        </p:spPr>
        <p:txBody>
          <a:bodyPr rtlCol="0">
            <a:noAutofit/>
          </a:bodyPr>
          <a:lstStyle>
            <a:lvl1pPr marL="0" indent="0">
              <a:buNone/>
              <a:defRPr sz="1600">
                <a:latin typeface="+mn-lt"/>
              </a:defRPr>
            </a:lvl1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29E4D063-8666-4D7A-B8C8-2B9383F798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9647" y="2286000"/>
            <a:ext cx="4838700" cy="315915"/>
          </a:xfrm>
        </p:spPr>
        <p:txBody>
          <a:bodyPr rtlCol="0">
            <a:noAutofit/>
          </a:bodyPr>
          <a:lstStyle>
            <a:lvl1pPr>
              <a:buNone/>
              <a:defRPr sz="1800" b="0" spc="0" baseline="0">
                <a:solidFill>
                  <a:schemeClr val="tx2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4717B7CD-A4F9-444E-82B9-8914CB57488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9647" y="3841846"/>
            <a:ext cx="4838700" cy="908340"/>
          </a:xfrm>
        </p:spPr>
        <p:txBody>
          <a:bodyPr rtlCol="0">
            <a:noAutofit/>
          </a:bodyPr>
          <a:lstStyle>
            <a:lvl1pPr marL="0" indent="0">
              <a:buNone/>
              <a:defRPr sz="1600">
                <a:latin typeface="+mn-lt"/>
              </a:defRPr>
            </a:lvl1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2CF285B7-A950-4326-A4D5-F5D542D2D65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9647" y="3470942"/>
            <a:ext cx="4838700" cy="315915"/>
          </a:xfrm>
        </p:spPr>
        <p:txBody>
          <a:bodyPr rtlCol="0">
            <a:noAutofit/>
          </a:bodyPr>
          <a:lstStyle>
            <a:lvl1pPr>
              <a:buNone/>
              <a:defRPr sz="1800" b="0" spc="0" baseline="0">
                <a:solidFill>
                  <a:schemeClr val="tx2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C45E38A-5516-4C3E-88FC-0DCBD876054B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 rtlCol="0"/>
          <a:lstStyle/>
          <a:p>
            <a:pPr rtl="0"/>
            <a:fld id="{6F89BB42-55A7-4CEE-9C9D-0DB51D9FAA93}" type="datetime4">
              <a:rPr lang="de-DE" noProof="0" smtClean="0">
                <a:latin typeface="+mn-lt"/>
              </a:rPr>
              <a:t>7. Februar 2024</a:t>
            </a:fld>
            <a:endParaRPr lang="de-DE" noProof="0" dirty="0">
              <a:latin typeface="+mn-lt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225273-038D-4F51-A093-83D80104F21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 rtlCol="0"/>
          <a:lstStyle/>
          <a:p>
            <a:pPr rtl="0"/>
            <a:r>
              <a:rPr lang="de-DE" noProof="0" dirty="0"/>
              <a:t>Jahresbericht</a:t>
            </a:r>
            <a:endParaRPr lang="de-DE" b="0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F24E14-E0E0-44FA-A4AA-FA63A858730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 rtlCol="0"/>
          <a:lstStyle/>
          <a:p>
            <a:pPr rtl="0"/>
            <a:fld id="{294A09A9-5501-47C1-A89A-A340965A2BE2}" type="slidenum">
              <a:rPr lang="de-DE" noProof="0" smtClean="0"/>
              <a:pPr rtl="0"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06013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304">
          <p15:clr>
            <a:srgbClr val="FBAE40"/>
          </p15:clr>
        </p15:guide>
        <p15:guide id="4" pos="5736">
          <p15:clr>
            <a:srgbClr val="FBAE40"/>
          </p15:clr>
        </p15:guide>
        <p15:guide id="5" pos="1944">
          <p15:clr>
            <a:srgbClr val="FBAE40"/>
          </p15:clr>
        </p15:guide>
        <p15:guide id="6" pos="4008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440">
          <p15:clr>
            <a:srgbClr val="FBAE40"/>
          </p15:clr>
        </p15:guide>
        <p15:guide id="9" orient="horz" pos="552">
          <p15:clr>
            <a:srgbClr val="FBAE40"/>
          </p15:clr>
        </p15:guide>
        <p15:guide id="10" pos="5352">
          <p15:clr>
            <a:srgbClr val="FBAE40"/>
          </p15:clr>
        </p15:guide>
        <p15:guide id="11" pos="364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!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9">
            <a:extLst>
              <a:ext uri="{FF2B5EF4-FFF2-40B4-BE49-F238E27FC236}">
                <a16:creationId xmlns:a16="http://schemas.microsoft.com/office/drawing/2014/main" id="{BB778BC5-5409-574B-96E2-B45CDD940D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96100" y="5102063"/>
            <a:ext cx="4914900" cy="588795"/>
          </a:xfrm>
        </p:spPr>
        <p:txBody>
          <a:bodyPr lIns="0" tIns="0" rIns="0" bIns="0" rtlCol="0" anchor="b">
            <a:noAutofit/>
          </a:bodyPr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32916F3A-28FA-9A4B-A780-0D687D9328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07623" y="3591098"/>
            <a:ext cx="4903377" cy="1057791"/>
          </a:xfrm>
        </p:spPr>
        <p:txBody>
          <a:bodyPr lIns="0" tIns="0" rIns="0" bIns="0" rtlCol="0">
            <a:norm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e-DE" noProof="0"/>
              <a:t>Master-Untertitelformat bearbeiten</a:t>
            </a:r>
            <a:endParaRPr lang="de-DE" noProof="0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E29321F6-59C5-6E4C-A846-6AD00848A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623" y="2173658"/>
            <a:ext cx="4903377" cy="610863"/>
          </a:xfrm>
          <a:prstGeom prst="rect">
            <a:avLst/>
          </a:prstGeom>
        </p:spPr>
        <p:txBody>
          <a:bodyPr lIns="0" tIns="0" rIns="0" bIns="0" rtlCol="0" anchor="b" anchorCtr="0">
            <a:normAutofit/>
          </a:bodyPr>
          <a:lstStyle>
            <a:lvl1pPr>
              <a:defRPr sz="4400" b="1" i="0">
                <a:latin typeface="+mj-lt"/>
              </a:defRPr>
            </a:lvl1pPr>
          </a:lstStyle>
          <a:p>
            <a:pPr rtl="0"/>
            <a:r>
              <a:rPr lang="de-DE" noProof="0"/>
              <a:t>Mastertitelformat bearbeiten</a:t>
            </a:r>
            <a:endParaRPr lang="de-DE" noProof="0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B5C3BF3-A164-DD48-BD02-4587489DA105}"/>
              </a:ext>
            </a:extLst>
          </p:cNvPr>
          <p:cNvCxnSpPr>
            <a:cxnSpLocks/>
          </p:cNvCxnSpPr>
          <p:nvPr userDrawn="1"/>
        </p:nvCxnSpPr>
        <p:spPr>
          <a:xfrm>
            <a:off x="6896100" y="3233703"/>
            <a:ext cx="21348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F8C225AD-C009-894E-8AFA-C94EAA065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 rtlCol="0"/>
          <a:lstStyle/>
          <a:p>
            <a:pPr rt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FEF81ED-50DF-3946-87D9-407C13C3CE9F}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8870040" y="0"/>
            <a:ext cx="3325208" cy="3325208"/>
            <a:chOff x="0" y="12289"/>
            <a:chExt cx="3550" cy="3551"/>
          </a:xfrm>
        </p:grpSpPr>
        <p:sp>
          <p:nvSpPr>
            <p:cNvPr id="31" name="Freihandform 30">
              <a:extLst>
                <a:ext uri="{FF2B5EF4-FFF2-40B4-BE49-F238E27FC236}">
                  <a16:creationId xmlns:a16="http://schemas.microsoft.com/office/drawing/2014/main" id="{4B6857A0-601C-9C40-ADB4-7927C7A4E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32" name="Freihandform 31">
              <a:extLst>
                <a:ext uri="{FF2B5EF4-FFF2-40B4-BE49-F238E27FC236}">
                  <a16:creationId xmlns:a16="http://schemas.microsoft.com/office/drawing/2014/main" id="{31562ACC-ECB3-4841-A52C-00DAFF438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33" name="Freihandform 32">
              <a:extLst>
                <a:ext uri="{FF2B5EF4-FFF2-40B4-BE49-F238E27FC236}">
                  <a16:creationId xmlns:a16="http://schemas.microsoft.com/office/drawing/2014/main" id="{77C317B8-91B4-7040-AB8C-CE822CA28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999130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06C6F65-35CD-D64B-992A-0C1C1E00384D}"/>
              </a:ext>
            </a:extLst>
          </p:cNvPr>
          <p:cNvGrpSpPr/>
          <p:nvPr userDrawn="1"/>
        </p:nvGrpSpPr>
        <p:grpSpPr>
          <a:xfrm>
            <a:off x="6362700" y="0"/>
            <a:ext cx="5829298" cy="3235602"/>
            <a:chOff x="5612972" y="1"/>
            <a:chExt cx="6615961" cy="3672246"/>
          </a:xfrm>
        </p:grpSpPr>
        <p:sp>
          <p:nvSpPr>
            <p:cNvPr id="7" name="AutoForm 24">
              <a:extLst>
                <a:ext uri="{FF2B5EF4-FFF2-40B4-BE49-F238E27FC236}">
                  <a16:creationId xmlns:a16="http://schemas.microsoft.com/office/drawing/2014/main" id="{CFD467E2-FF13-7E4F-BEF9-EA1A17665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972" y="1"/>
              <a:ext cx="4408998" cy="3672246"/>
            </a:xfrm>
            <a:custGeom>
              <a:avLst/>
              <a:gdLst>
                <a:gd name="T0" fmla="+- 0 8372 6586"/>
                <a:gd name="T1" fmla="*/ T0 w 3578"/>
                <a:gd name="T2" fmla="*/ 591 h 2980"/>
                <a:gd name="T3" fmla="+- 0 7780 6586"/>
                <a:gd name="T4" fmla="*/ T3 w 3578"/>
                <a:gd name="T5" fmla="*/ 0 h 2980"/>
                <a:gd name="T6" fmla="+- 0 6586 6586"/>
                <a:gd name="T7" fmla="*/ T6 w 3578"/>
                <a:gd name="T8" fmla="*/ 0 h 2980"/>
                <a:gd name="T9" fmla="+- 0 7774 6586"/>
                <a:gd name="T10" fmla="*/ T9 w 3578"/>
                <a:gd name="T11" fmla="*/ 1188 h 2980"/>
                <a:gd name="T12" fmla="+- 0 8372 6586"/>
                <a:gd name="T13" fmla="*/ T12 w 3578"/>
                <a:gd name="T14" fmla="*/ 591 h 2980"/>
                <a:gd name="T15" fmla="+- 0 10163 6586"/>
                <a:gd name="T16" fmla="*/ T15 w 3578"/>
                <a:gd name="T17" fmla="*/ 2383 h 2980"/>
                <a:gd name="T18" fmla="+- 0 9566 6586"/>
                <a:gd name="T19" fmla="*/ T18 w 3578"/>
                <a:gd name="T20" fmla="*/ 1786 h 2980"/>
                <a:gd name="T21" fmla="+- 0 8969 6586"/>
                <a:gd name="T22" fmla="*/ T21 w 3578"/>
                <a:gd name="T23" fmla="*/ 2383 h 2980"/>
                <a:gd name="T24" fmla="+- 0 9566 6586"/>
                <a:gd name="T25" fmla="*/ T24 w 3578"/>
                <a:gd name="T26" fmla="*/ 2980 h 2980"/>
                <a:gd name="T27" fmla="+- 0 10163 6586"/>
                <a:gd name="T28" fmla="*/ T27 w 3578"/>
                <a:gd name="T29" fmla="*/ 2383 h 298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  <a:cxn ang="0">
                  <a:pos x="T19" y="T20"/>
                </a:cxn>
                <a:cxn ang="0">
                  <a:pos x="T22" y="T23"/>
                </a:cxn>
                <a:cxn ang="0">
                  <a:pos x="T25" y="T26"/>
                </a:cxn>
                <a:cxn ang="0">
                  <a:pos x="T28" y="T29"/>
                </a:cxn>
              </a:cxnLst>
              <a:rect l="0" t="0" r="r" b="b"/>
              <a:pathLst>
                <a:path w="3578" h="2980">
                  <a:moveTo>
                    <a:pt x="1786" y="591"/>
                  </a:moveTo>
                  <a:lnTo>
                    <a:pt x="1194" y="0"/>
                  </a:lnTo>
                  <a:lnTo>
                    <a:pt x="0" y="0"/>
                  </a:lnTo>
                  <a:lnTo>
                    <a:pt x="1188" y="1188"/>
                  </a:lnTo>
                  <a:lnTo>
                    <a:pt x="1786" y="591"/>
                  </a:lnTo>
                  <a:moveTo>
                    <a:pt x="3577" y="2383"/>
                  </a:moveTo>
                  <a:lnTo>
                    <a:pt x="2980" y="1786"/>
                  </a:lnTo>
                  <a:lnTo>
                    <a:pt x="2383" y="2383"/>
                  </a:lnTo>
                  <a:lnTo>
                    <a:pt x="2980" y="2980"/>
                  </a:lnTo>
                  <a:lnTo>
                    <a:pt x="3577" y="2383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8" name="Freihandform 7">
              <a:extLst>
                <a:ext uri="{FF2B5EF4-FFF2-40B4-BE49-F238E27FC236}">
                  <a16:creationId xmlns:a16="http://schemas.microsoft.com/office/drawing/2014/main" id="{CA85A327-3157-B442-993A-6900F712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233" y="1463970"/>
              <a:ext cx="2208196" cy="2208277"/>
            </a:xfrm>
            <a:custGeom>
              <a:avLst/>
              <a:gdLst>
                <a:gd name="T0" fmla="+- 0 7774 7177"/>
                <a:gd name="T1" fmla="*/ T0 w 1792"/>
                <a:gd name="T2" fmla="+- 0 1188 1188"/>
                <a:gd name="T3" fmla="*/ 1188 h 1792"/>
                <a:gd name="T4" fmla="+- 0 7177 7177"/>
                <a:gd name="T5" fmla="*/ T4 w 1792"/>
                <a:gd name="T6" fmla="+- 0 1786 1188"/>
                <a:gd name="T7" fmla="*/ 1786 h 1792"/>
                <a:gd name="T8" fmla="+- 0 8372 7177"/>
                <a:gd name="T9" fmla="*/ T8 w 1792"/>
                <a:gd name="T10" fmla="+- 0 2980 1188"/>
                <a:gd name="T11" fmla="*/ 2980 h 1792"/>
                <a:gd name="T12" fmla="+- 0 8969 7177"/>
                <a:gd name="T13" fmla="*/ T12 w 1792"/>
                <a:gd name="T14" fmla="+- 0 2383 1188"/>
                <a:gd name="T15" fmla="*/ 2383 h 1792"/>
                <a:gd name="T16" fmla="+- 0 7774 7177"/>
                <a:gd name="T17" fmla="*/ T16 w 1792"/>
                <a:gd name="T18" fmla="+- 0 1188 1188"/>
                <a:gd name="T19" fmla="*/ 1188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7" y="0"/>
                  </a:moveTo>
                  <a:lnTo>
                    <a:pt x="0" y="598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9" name="Freihandform 8">
              <a:extLst>
                <a:ext uri="{FF2B5EF4-FFF2-40B4-BE49-F238E27FC236}">
                  <a16:creationId xmlns:a16="http://schemas.microsoft.com/office/drawing/2014/main" id="{9A459CB4-74AF-0544-AB1E-7CC6D10F8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5590" y="1"/>
              <a:ext cx="1457754" cy="729520"/>
            </a:xfrm>
            <a:custGeom>
              <a:avLst/>
              <a:gdLst>
                <a:gd name="T0" fmla="+- 0 10158 8975"/>
                <a:gd name="T1" fmla="*/ T0 w 1183"/>
                <a:gd name="T2" fmla="*/ 0 h 592"/>
                <a:gd name="T3" fmla="+- 0 8975 8975"/>
                <a:gd name="T4" fmla="*/ T3 w 1183"/>
                <a:gd name="T5" fmla="*/ 0 h 592"/>
                <a:gd name="T6" fmla="+- 0 9566 8975"/>
                <a:gd name="T7" fmla="*/ T6 w 1183"/>
                <a:gd name="T8" fmla="*/ 591 h 592"/>
                <a:gd name="T9" fmla="+- 0 10158 8975"/>
                <a:gd name="T10" fmla="*/ T9 w 1183"/>
                <a:gd name="T11" fmla="*/ 0 h 592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183" h="592">
                  <a:moveTo>
                    <a:pt x="1183" y="0"/>
                  </a:moveTo>
                  <a:lnTo>
                    <a:pt x="0" y="0"/>
                  </a:lnTo>
                  <a:lnTo>
                    <a:pt x="591" y="591"/>
                  </a:lnTo>
                  <a:lnTo>
                    <a:pt x="11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10" name="Freihandform 9">
              <a:extLst>
                <a:ext uri="{FF2B5EF4-FFF2-40B4-BE49-F238E27FC236}">
                  <a16:creationId xmlns:a16="http://schemas.microsoft.com/office/drawing/2014/main" id="{95A20BFD-9142-D64A-A78A-61B75FCA0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887" y="728289"/>
              <a:ext cx="2208196" cy="2208277"/>
            </a:xfrm>
            <a:custGeom>
              <a:avLst/>
              <a:gdLst>
                <a:gd name="T0" fmla="+- 0 8372 7774"/>
                <a:gd name="T1" fmla="*/ T0 w 1792"/>
                <a:gd name="T2" fmla="+- 0 591 591"/>
                <a:gd name="T3" fmla="*/ 591 h 1792"/>
                <a:gd name="T4" fmla="+- 0 7774 7774"/>
                <a:gd name="T5" fmla="*/ T4 w 1792"/>
                <a:gd name="T6" fmla="+- 0 1188 591"/>
                <a:gd name="T7" fmla="*/ 1188 h 1792"/>
                <a:gd name="T8" fmla="+- 0 8969 7774"/>
                <a:gd name="T9" fmla="*/ T8 w 1792"/>
                <a:gd name="T10" fmla="+- 0 2383 591"/>
                <a:gd name="T11" fmla="*/ 2383 h 1792"/>
                <a:gd name="T12" fmla="+- 0 9566 7774"/>
                <a:gd name="T13" fmla="*/ T12 w 1792"/>
                <a:gd name="T14" fmla="+- 0 1786 591"/>
                <a:gd name="T15" fmla="*/ 1786 h 1792"/>
                <a:gd name="T16" fmla="+- 0 8372 7774"/>
                <a:gd name="T17" fmla="*/ T16 w 1792"/>
                <a:gd name="T18" fmla="+- 0 591 591"/>
                <a:gd name="T19" fmla="*/ 591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8" y="0"/>
                  </a:moveTo>
                  <a:lnTo>
                    <a:pt x="0" y="597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11" name="Freihandform 10">
              <a:extLst>
                <a:ext uri="{FF2B5EF4-FFF2-40B4-BE49-F238E27FC236}">
                  <a16:creationId xmlns:a16="http://schemas.microsoft.com/office/drawing/2014/main" id="{B80736DF-C890-DB47-AEAA-D3D92505E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083" y="728289"/>
              <a:ext cx="2943850" cy="2943958"/>
            </a:xfrm>
            <a:custGeom>
              <a:avLst/>
              <a:gdLst>
                <a:gd name="T0" fmla="+- 0 11955 9566"/>
                <a:gd name="T1" fmla="*/ T0 w 2389"/>
                <a:gd name="T2" fmla="+- 0 1786 591"/>
                <a:gd name="T3" fmla="*/ 1786 h 2389"/>
                <a:gd name="T4" fmla="+- 0 10760 9566"/>
                <a:gd name="T5" fmla="*/ T4 w 2389"/>
                <a:gd name="T6" fmla="+- 0 591 591"/>
                <a:gd name="T7" fmla="*/ 591 h 2389"/>
                <a:gd name="T8" fmla="+- 0 9566 9566"/>
                <a:gd name="T9" fmla="*/ T8 w 2389"/>
                <a:gd name="T10" fmla="+- 0 1786 591"/>
                <a:gd name="T11" fmla="*/ 1786 h 2389"/>
                <a:gd name="T12" fmla="+- 0 10760 9566"/>
                <a:gd name="T13" fmla="*/ T12 w 2389"/>
                <a:gd name="T14" fmla="+- 0 2980 591"/>
                <a:gd name="T15" fmla="*/ 2980 h 2389"/>
                <a:gd name="T16" fmla="+- 0 11955 9566"/>
                <a:gd name="T17" fmla="*/ T16 w 2389"/>
                <a:gd name="T18" fmla="+- 0 1786 591"/>
                <a:gd name="T19" fmla="*/ 1786 h 238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2389" h="2389">
                  <a:moveTo>
                    <a:pt x="2389" y="1195"/>
                  </a:moveTo>
                  <a:lnTo>
                    <a:pt x="1194" y="0"/>
                  </a:lnTo>
                  <a:lnTo>
                    <a:pt x="0" y="1195"/>
                  </a:lnTo>
                  <a:lnTo>
                    <a:pt x="1194" y="2389"/>
                  </a:lnTo>
                  <a:lnTo>
                    <a:pt x="2389" y="1195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  <p:sp>
        <p:nvSpPr>
          <p:cNvPr id="12" name="Titel 1">
            <a:extLst>
              <a:ext uri="{FF2B5EF4-FFF2-40B4-BE49-F238E27FC236}">
                <a16:creationId xmlns:a16="http://schemas.microsoft.com/office/drawing/2014/main" id="{39F93F26-ED5C-E74E-BFBD-E3054DC1B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023" y="879063"/>
            <a:ext cx="4941477" cy="610863"/>
          </a:xfrm>
          <a:prstGeom prst="rect">
            <a:avLst/>
          </a:prstGeom>
        </p:spPr>
        <p:txBody>
          <a:bodyPr lIns="0" tIns="0" rIns="0" bIns="0" rtlCol="0" anchor="b" anchorCtr="0">
            <a:normAutofit/>
          </a:bodyPr>
          <a:lstStyle>
            <a:lvl1pPr>
              <a:defRPr sz="4400" b="1" i="0" spc="50" baseline="0">
                <a:latin typeface="+mj-lt"/>
              </a:defRPr>
            </a:lvl1pPr>
          </a:lstStyle>
          <a:p>
            <a:pPr rtl="0"/>
            <a:r>
              <a:rPr lang="de-DE" noProof="0"/>
              <a:t>Mastertitelformat bearbeiten</a:t>
            </a:r>
            <a:endParaRPr lang="de-DE" noProof="0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F0FD074-81E2-0D4E-8446-C5B415B238A0}"/>
              </a:ext>
            </a:extLst>
          </p:cNvPr>
          <p:cNvCxnSpPr>
            <a:cxnSpLocks/>
          </p:cNvCxnSpPr>
          <p:nvPr userDrawn="1"/>
        </p:nvCxnSpPr>
        <p:spPr>
          <a:xfrm>
            <a:off x="952500" y="1934655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platzhalter 29">
            <a:extLst>
              <a:ext uri="{FF2B5EF4-FFF2-40B4-BE49-F238E27FC236}">
                <a16:creationId xmlns:a16="http://schemas.microsoft.com/office/drawing/2014/main" id="{58AAB058-5FFC-9E4E-AD2E-FB1B4EE510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2500" y="2818296"/>
            <a:ext cx="2133600" cy="369332"/>
          </a:xfrm>
        </p:spPr>
        <p:txBody>
          <a:bodyPr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15" name="Textplatzhalter 29">
            <a:extLst>
              <a:ext uri="{FF2B5EF4-FFF2-40B4-BE49-F238E27FC236}">
                <a16:creationId xmlns:a16="http://schemas.microsoft.com/office/drawing/2014/main" id="{18ABDA74-C3EC-274D-BE87-AC5B825A2A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52500" y="2209800"/>
            <a:ext cx="2133600" cy="205837"/>
          </a:xfrm>
        </p:spPr>
        <p:txBody>
          <a:bodyPr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0" i="0">
                <a:solidFill>
                  <a:schemeClr val="tx2"/>
                </a:solidFill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A3DDE02E-BC75-2645-8725-CA2CFD327A3C}"/>
              </a:ext>
            </a:extLst>
          </p:cNvPr>
          <p:cNvCxnSpPr>
            <a:cxnSpLocks/>
          </p:cNvCxnSpPr>
          <p:nvPr userDrawn="1"/>
        </p:nvCxnSpPr>
        <p:spPr>
          <a:xfrm>
            <a:off x="3663043" y="1939108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platzhalter 29">
            <a:extLst>
              <a:ext uri="{FF2B5EF4-FFF2-40B4-BE49-F238E27FC236}">
                <a16:creationId xmlns:a16="http://schemas.microsoft.com/office/drawing/2014/main" id="{3ABA9FD1-9B74-F14F-81EF-7B3407196B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63042" y="2818296"/>
            <a:ext cx="2128157" cy="369332"/>
          </a:xfrm>
        </p:spPr>
        <p:txBody>
          <a:bodyPr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18" name="Textplatzhalter 29">
            <a:extLst>
              <a:ext uri="{FF2B5EF4-FFF2-40B4-BE49-F238E27FC236}">
                <a16:creationId xmlns:a16="http://schemas.microsoft.com/office/drawing/2014/main" id="{0E9E9D03-0186-5B4C-A73F-95ADCD08A4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63042" y="2209800"/>
            <a:ext cx="2128157" cy="205837"/>
          </a:xfrm>
        </p:spPr>
        <p:txBody>
          <a:bodyPr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0" i="0">
                <a:solidFill>
                  <a:schemeClr val="tx2"/>
                </a:solidFill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01EE6FD-FABB-AD48-92DA-19805B502918}"/>
              </a:ext>
            </a:extLst>
          </p:cNvPr>
          <p:cNvCxnSpPr>
            <a:cxnSpLocks/>
          </p:cNvCxnSpPr>
          <p:nvPr userDrawn="1"/>
        </p:nvCxnSpPr>
        <p:spPr>
          <a:xfrm>
            <a:off x="952500" y="4248119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platzhalter 29">
            <a:extLst>
              <a:ext uri="{FF2B5EF4-FFF2-40B4-BE49-F238E27FC236}">
                <a16:creationId xmlns:a16="http://schemas.microsoft.com/office/drawing/2014/main" id="{F953BCFF-5CB8-784F-ACC1-A14670E6219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52500" y="5131299"/>
            <a:ext cx="2133600" cy="369332"/>
          </a:xfrm>
        </p:spPr>
        <p:txBody>
          <a:bodyPr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2" name="Textplatzhalter 29">
            <a:extLst>
              <a:ext uri="{FF2B5EF4-FFF2-40B4-BE49-F238E27FC236}">
                <a16:creationId xmlns:a16="http://schemas.microsoft.com/office/drawing/2014/main" id="{97DCC038-CDD3-1D48-B8BA-2617616935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2500" y="4522803"/>
            <a:ext cx="2133600" cy="205837"/>
          </a:xfrm>
        </p:spPr>
        <p:txBody>
          <a:bodyPr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0" i="0">
                <a:solidFill>
                  <a:schemeClr val="tx2"/>
                </a:solidFill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93BB36CC-7349-334D-A028-58D01025E726}"/>
              </a:ext>
            </a:extLst>
          </p:cNvPr>
          <p:cNvCxnSpPr>
            <a:cxnSpLocks/>
          </p:cNvCxnSpPr>
          <p:nvPr userDrawn="1"/>
        </p:nvCxnSpPr>
        <p:spPr>
          <a:xfrm>
            <a:off x="3663043" y="4252111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platzhalter 29">
            <a:extLst>
              <a:ext uri="{FF2B5EF4-FFF2-40B4-BE49-F238E27FC236}">
                <a16:creationId xmlns:a16="http://schemas.microsoft.com/office/drawing/2014/main" id="{C20DFC6E-CE65-E94B-921D-38F386E173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63042" y="5131299"/>
            <a:ext cx="2128157" cy="369332"/>
          </a:xfrm>
        </p:spPr>
        <p:txBody>
          <a:bodyPr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5" name="Textplatzhalter 29">
            <a:extLst>
              <a:ext uri="{FF2B5EF4-FFF2-40B4-BE49-F238E27FC236}">
                <a16:creationId xmlns:a16="http://schemas.microsoft.com/office/drawing/2014/main" id="{773FBF72-A3D8-2F4E-BAD2-2755F0BE4A4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63042" y="4522803"/>
            <a:ext cx="2128157" cy="205837"/>
          </a:xfrm>
        </p:spPr>
        <p:txBody>
          <a:bodyPr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0" i="0">
                <a:solidFill>
                  <a:schemeClr val="tx2"/>
                </a:solidFill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C402C0D4-D9C4-F547-B996-38177302A3DC}"/>
              </a:ext>
            </a:extLst>
          </p:cNvPr>
          <p:cNvCxnSpPr>
            <a:cxnSpLocks/>
          </p:cNvCxnSpPr>
          <p:nvPr userDrawn="1"/>
        </p:nvCxnSpPr>
        <p:spPr>
          <a:xfrm>
            <a:off x="6367055" y="4252111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platzhalter 29">
            <a:extLst>
              <a:ext uri="{FF2B5EF4-FFF2-40B4-BE49-F238E27FC236}">
                <a16:creationId xmlns:a16="http://schemas.microsoft.com/office/drawing/2014/main" id="{9B18A1DC-4A61-514B-9F70-1DCC893EBB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7054" y="5131299"/>
            <a:ext cx="2129245" cy="369332"/>
          </a:xfrm>
        </p:spPr>
        <p:txBody>
          <a:bodyPr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8" name="Textplatzhalter 29">
            <a:extLst>
              <a:ext uri="{FF2B5EF4-FFF2-40B4-BE49-F238E27FC236}">
                <a16:creationId xmlns:a16="http://schemas.microsoft.com/office/drawing/2014/main" id="{DD138509-2AA1-D540-90D6-28847495661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67054" y="4522803"/>
            <a:ext cx="2129245" cy="205837"/>
          </a:xfrm>
        </p:spPr>
        <p:txBody>
          <a:bodyPr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0" i="0">
                <a:solidFill>
                  <a:schemeClr val="tx2"/>
                </a:solidFill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655503-4608-4F79-A5D4-B2F67958F26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fld id="{AF0C4B39-9022-40F5-9906-5921835F5CC2}" type="datetime4">
              <a:rPr lang="de-DE" noProof="0" smtClean="0">
                <a:latin typeface="+mn-lt"/>
              </a:rPr>
              <a:t>7. Februar 2024</a:t>
            </a:fld>
            <a:endParaRPr lang="de-DE" noProof="0" dirty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AFA395-FE4C-4A99-A74E-57757D8473E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r>
              <a:rPr lang="de-DE" noProof="0" dirty="0"/>
              <a:t>Jahresbericht</a:t>
            </a:r>
            <a:endParaRPr lang="de-DE" b="0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0A6A117-A0E8-43E1-9120-CE3B8B97667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fld id="{294A09A9-5501-47C1-A89A-A340965A2BE2}" type="slidenum">
              <a:rPr lang="de-DE" noProof="0" smtClean="0"/>
              <a:pPr rtl="0"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930664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füh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82066DD-D313-D148-89C7-338EB873A730}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15" name="Freihandform 14">
              <a:extLst>
                <a:ext uri="{FF2B5EF4-FFF2-40B4-BE49-F238E27FC236}">
                  <a16:creationId xmlns:a16="http://schemas.microsoft.com/office/drawing/2014/main" id="{A5BBD7C7-99D1-E841-A081-6912D1F2B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16" name="Freihandform 15">
              <a:extLst>
                <a:ext uri="{FF2B5EF4-FFF2-40B4-BE49-F238E27FC236}">
                  <a16:creationId xmlns:a16="http://schemas.microsoft.com/office/drawing/2014/main" id="{227A14EE-CB79-754A-8B19-EB9874B31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19" name="Freihandform 18">
              <a:extLst>
                <a:ext uri="{FF2B5EF4-FFF2-40B4-BE49-F238E27FC236}">
                  <a16:creationId xmlns:a16="http://schemas.microsoft.com/office/drawing/2014/main" id="{35B38B80-C3D3-4C47-B468-C41A8FF36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  <p:sp>
        <p:nvSpPr>
          <p:cNvPr id="14" name="Bildplatzhalter 2">
            <a:extLst>
              <a:ext uri="{FF2B5EF4-FFF2-40B4-BE49-F238E27FC236}">
                <a16:creationId xmlns:a16="http://schemas.microsoft.com/office/drawing/2014/main" id="{F0C4E8C2-3240-594A-9D5E-1BCD1AF44C5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-22543"/>
            <a:ext cx="6096000" cy="6903086"/>
          </a:xfrm>
        </p:spPr>
        <p:txBody>
          <a:bodyPr rtlCol="0"/>
          <a:lstStyle/>
          <a:p>
            <a:pPr rt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5C37098-CEB2-1E45-989B-3DD92F3B1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023" y="879063"/>
            <a:ext cx="4941477" cy="610863"/>
          </a:xfrm>
          <a:prstGeom prst="rect">
            <a:avLst/>
          </a:prstGeom>
        </p:spPr>
        <p:txBody>
          <a:bodyPr lIns="0" tIns="0" rIns="0" bIns="0" rtlCol="0" anchor="b" anchorCtr="0">
            <a:normAutofit/>
          </a:bodyPr>
          <a:lstStyle>
            <a:lvl1pPr>
              <a:defRPr sz="4400" b="1" i="0">
                <a:latin typeface="+mj-lt"/>
              </a:defRPr>
            </a:lvl1pPr>
          </a:lstStyle>
          <a:p>
            <a:pPr rtl="0"/>
            <a:r>
              <a:rPr lang="de-DE" noProof="0"/>
              <a:t>Mastertitelformat bearbeiten</a:t>
            </a:r>
            <a:endParaRPr lang="de-DE" noProof="0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1D23F761-57FC-3649-AE84-0C3EF95EF561}"/>
              </a:ext>
            </a:extLst>
          </p:cNvPr>
          <p:cNvCxnSpPr>
            <a:cxnSpLocks/>
          </p:cNvCxnSpPr>
          <p:nvPr userDrawn="1"/>
        </p:nvCxnSpPr>
        <p:spPr>
          <a:xfrm>
            <a:off x="952500" y="1939108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platzhalter 29">
            <a:extLst>
              <a:ext uri="{FF2B5EF4-FFF2-40B4-BE49-F238E27FC236}">
                <a16:creationId xmlns:a16="http://schemas.microsoft.com/office/drawing/2014/main" id="{E66F2BC9-2F8A-1543-9AFD-9BAB0E75B3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52499" y="2289363"/>
            <a:ext cx="4572001" cy="2795232"/>
          </a:xfrm>
        </p:spPr>
        <p:txBody>
          <a:bodyPr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64E0B3-57C5-4DAF-8531-F39610E77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pPr rtl="0"/>
            <a:fld id="{F7ADF8DC-47C1-49F6-AD8A-5D9C8B942CAB}" type="datetime4">
              <a:rPr lang="de-DE" noProof="0" smtClean="0">
                <a:latin typeface="+mn-lt"/>
              </a:rPr>
              <a:t>7. Februar 2024</a:t>
            </a:fld>
            <a:endParaRPr lang="de-DE" noProof="0" dirty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E0EC46-C626-4D58-AB64-0B3B850D14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rtlCol="0"/>
          <a:lstStyle/>
          <a:p>
            <a:pPr rtl="0"/>
            <a:r>
              <a:rPr lang="de-DE" noProof="0" dirty="0"/>
              <a:t>Jahresbericht</a:t>
            </a:r>
            <a:endParaRPr lang="de-DE" b="0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25D00C-8F5C-4528-87FA-F9431D9675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 rtl="0"/>
            <a:fld id="{294A09A9-5501-47C1-A89A-A340965A2BE2}" type="slidenum">
              <a:rPr lang="de-DE" noProof="0" smtClean="0"/>
              <a:pPr rtl="0"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073769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6" pos="3480" userDrawn="1">
          <p15:clr>
            <a:srgbClr val="FBAE40"/>
          </p15:clr>
        </p15:guide>
        <p15:guide id="7" orient="horz" pos="1440" userDrawn="1">
          <p15:clr>
            <a:srgbClr val="FBAE40"/>
          </p15:clr>
        </p15:guide>
        <p15:guide id="9" orient="horz" pos="1224" userDrawn="1">
          <p15:clr>
            <a:srgbClr val="FBAE40"/>
          </p15:clr>
        </p15:guide>
        <p15:guide id="10" orient="horz" pos="55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50E2385F-F6FA-D345-AF77-A9EE8E49310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8" cy="6858000"/>
          </a:xfrm>
          <a:solidFill>
            <a:schemeClr val="accent2"/>
          </a:solidFill>
        </p:spPr>
        <p:txBody>
          <a:bodyPr rtlCol="0"/>
          <a:lstStyle/>
          <a:p>
            <a:pPr rt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8D492973-78E3-D34E-835E-CF2D45170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43" y="3045437"/>
            <a:ext cx="4941477" cy="610863"/>
          </a:xfrm>
          <a:prstGeom prst="rect">
            <a:avLst/>
          </a:prstGeom>
        </p:spPr>
        <p:txBody>
          <a:bodyPr lIns="0" tIns="0" rIns="0" bIns="0" rtlCol="0" anchor="b" anchorCtr="0">
            <a:normAutofit/>
          </a:bodyPr>
          <a:lstStyle>
            <a:lvl1pPr>
              <a:defRPr sz="41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de-DE" noProof="0"/>
              <a:t>Mastertitelformat bearbeiten</a:t>
            </a:r>
            <a:endParaRPr lang="de-DE" noProof="0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4BE3A3D6-A0AD-C84D-8B2A-743F5F95432E}"/>
              </a:ext>
            </a:extLst>
          </p:cNvPr>
          <p:cNvCxnSpPr>
            <a:cxnSpLocks/>
          </p:cNvCxnSpPr>
          <p:nvPr userDrawn="1"/>
        </p:nvCxnSpPr>
        <p:spPr>
          <a:xfrm>
            <a:off x="7154721" y="4003877"/>
            <a:ext cx="2133600" cy="3992"/>
          </a:xfrm>
          <a:prstGeom prst="line">
            <a:avLst/>
          </a:prstGeom>
          <a:ln w="1016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F4CB38BE-0FF2-694C-AA3C-D73DBF7C332C}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9509760" y="-3"/>
            <a:ext cx="2682238" cy="2682238"/>
            <a:chOff x="0" y="12289"/>
            <a:chExt cx="3550" cy="3551"/>
          </a:xfrm>
          <a:solidFill>
            <a:schemeClr val="tx1"/>
          </a:solidFill>
        </p:grpSpPr>
        <p:sp>
          <p:nvSpPr>
            <p:cNvPr id="23" name="Freihandform 22">
              <a:extLst>
                <a:ext uri="{FF2B5EF4-FFF2-40B4-BE49-F238E27FC236}">
                  <a16:creationId xmlns:a16="http://schemas.microsoft.com/office/drawing/2014/main" id="{F0257420-2EA0-6348-8B9E-1414F5297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4" name="Freihandform 23">
              <a:extLst>
                <a:ext uri="{FF2B5EF4-FFF2-40B4-BE49-F238E27FC236}">
                  <a16:creationId xmlns:a16="http://schemas.microsoft.com/office/drawing/2014/main" id="{7FE65C23-C0EF-BB41-884A-01C2A7356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5" name="Freihandform 24">
              <a:extLst>
                <a:ext uri="{FF2B5EF4-FFF2-40B4-BE49-F238E27FC236}">
                  <a16:creationId xmlns:a16="http://schemas.microsoft.com/office/drawing/2014/main" id="{F73F5EB6-53C7-D44C-9003-FB5A81F98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357889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4">
          <p15:clr>
            <a:srgbClr val="FBAE40"/>
          </p15:clr>
        </p15:guide>
        <p15:guide id="3" pos="4344" userDrawn="1">
          <p15:clr>
            <a:srgbClr val="FBAE40"/>
          </p15:clr>
        </p15:guide>
        <p15:guide id="4" pos="4560" userDrawn="1">
          <p15:clr>
            <a:srgbClr val="FBAE40"/>
          </p15:clr>
        </p15:guide>
        <p15:guide id="8" orient="horz" pos="184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75992517-0394-6B43-B15D-2A86A34512F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52500" y="1939108"/>
            <a:ext cx="10352810" cy="4110702"/>
          </a:xfrm>
        </p:spPr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de-DE" noProof="0"/>
              <a:t>Diagramm durch Klicken auf Symbol hinzufügen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023" y="879063"/>
            <a:ext cx="4941477" cy="610863"/>
          </a:xfrm>
          <a:prstGeom prst="rect">
            <a:avLst/>
          </a:prstGeom>
        </p:spPr>
        <p:txBody>
          <a:bodyPr lIns="0" tIns="0" rIns="0" bIns="0" rtlCol="0" anchor="b" anchorCtr="0">
            <a:norm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de-DE" noProof="0"/>
              <a:t>Zum Bearbeiten klicken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012B1-809A-45CE-9FED-46D08DC8C42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rtlCol="0"/>
          <a:lstStyle/>
          <a:p>
            <a:pPr rtl="0"/>
            <a:fld id="{347BF340-3694-4BEF-8041-DEBC2F2F8165}" type="datetime4">
              <a:rPr lang="de-DE" noProof="0" smtClean="0">
                <a:latin typeface="+mn-lt"/>
              </a:rPr>
              <a:t>7. Februar 2024</a:t>
            </a:fld>
            <a:endParaRPr lang="de-DE" noProof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B6FA27-6601-4107-A3C9-808CB44302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 rtl="0"/>
            <a:r>
              <a:rPr lang="de-DE" noProof="0"/>
              <a:t>Jahresbericht</a:t>
            </a:r>
            <a:endParaRPr lang="de-DE" b="0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19432A-F8B5-4A96-AEE6-2E159658D5D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 rtlCol="0"/>
          <a:lstStyle/>
          <a:p>
            <a:pPr rtl="0"/>
            <a:fld id="{294A09A9-5501-47C1-A89A-A340965A2BE2}" type="slidenum">
              <a:rPr lang="de-DE" noProof="0" smtClean="0"/>
              <a:pPr rtl="0"/>
              <a:t>‹Nr.›</a:t>
            </a:fld>
            <a:endParaRPr lang="de-DE" noProof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65862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 userDrawn="1">
          <p15:clr>
            <a:srgbClr val="FBAE40"/>
          </p15:clr>
        </p15:guide>
        <p15:guide id="3" pos="2880" userDrawn="1">
          <p15:clr>
            <a:srgbClr val="FBAE40"/>
          </p15:clr>
        </p15:guide>
        <p15:guide id="4" pos="5160" userDrawn="1">
          <p15:clr>
            <a:srgbClr val="FBAE40"/>
          </p15:clr>
        </p15:guide>
        <p15:guide id="5" pos="2520" userDrawn="1">
          <p15:clr>
            <a:srgbClr val="FBAE40"/>
          </p15:clr>
        </p15:guide>
        <p15:guide id="6" pos="4800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orient="horz" pos="1392" userDrawn="1">
          <p15:clr>
            <a:srgbClr val="FBAE40"/>
          </p15:clr>
        </p15:guide>
        <p15:guide id="10" orient="horz" pos="55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023" y="879063"/>
            <a:ext cx="4941477" cy="610863"/>
          </a:xfrm>
          <a:prstGeom prst="rect">
            <a:avLst/>
          </a:prstGeom>
        </p:spPr>
        <p:txBody>
          <a:bodyPr lIns="0" tIns="0" rIns="0" bIns="0" rtlCol="0" anchor="b" anchorCtr="0">
            <a:norm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de-DE" noProof="0"/>
              <a:t>Zum Bearbeiten klicken </a:t>
            </a:r>
          </a:p>
        </p:txBody>
      </p:sp>
      <p:sp>
        <p:nvSpPr>
          <p:cNvPr id="9" name="Tabellenplatzhalter 2">
            <a:extLst>
              <a:ext uri="{FF2B5EF4-FFF2-40B4-BE49-F238E27FC236}">
                <a16:creationId xmlns:a16="http://schemas.microsoft.com/office/drawing/2014/main" id="{1506B022-475A-6647-98FF-D5C319A0C7C4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52500" y="2209800"/>
            <a:ext cx="10287000" cy="2593109"/>
          </a:xfrm>
        </p:spPr>
        <p:txBody>
          <a:bodyPr rtlCol="0"/>
          <a:lstStyle/>
          <a:p>
            <a:pPr rtl="0"/>
            <a:r>
              <a:rPr lang="de-DE" noProof="0"/>
              <a:t>Tabelle durch Klicken auf Symbol hinzufüg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B2411D2-78FE-46C1-9EA9-C6A882903B5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rtlCol="0"/>
          <a:lstStyle/>
          <a:p>
            <a:pPr rtl="0"/>
            <a:fld id="{4F44F1FB-9E1C-4825-B70F-BB762195B2A1}" type="datetime4">
              <a:rPr lang="de-DE" noProof="0" smtClean="0">
                <a:latin typeface="+mn-lt"/>
              </a:rPr>
              <a:t>7. Februar 2024</a:t>
            </a:fld>
            <a:endParaRPr lang="de-DE" noProof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04DAF8F-82DB-4DBE-9041-71217A4516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 rtl="0"/>
            <a:r>
              <a:rPr lang="de-DE" noProof="0"/>
              <a:t>Jahresbericht</a:t>
            </a:r>
            <a:endParaRPr lang="de-DE" b="0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2F761B-6706-439D-9C75-43E751AB195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 rtlCol="0"/>
          <a:lstStyle/>
          <a:p>
            <a:pPr rtl="0"/>
            <a:fld id="{294A09A9-5501-47C1-A89A-A340965A2BE2}" type="slidenum">
              <a:rPr lang="de-DE" noProof="0" smtClean="0"/>
              <a:pPr rtl="0"/>
              <a:t>‹Nr.›</a:t>
            </a:fld>
            <a:endParaRPr lang="de-DE" noProof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01310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A5C37098-CEB2-1E45-989B-3DD92F3B1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022" y="2476500"/>
            <a:ext cx="7132320" cy="3289971"/>
          </a:xfrm>
          <a:prstGeom prst="rect">
            <a:avLst/>
          </a:prstGeom>
          <a:ln>
            <a:noFill/>
          </a:ln>
        </p:spPr>
        <p:txBody>
          <a:bodyPr lIns="0" tIns="0" rIns="0" bIns="0" rtlCol="0" anchor="t" anchorCtr="0">
            <a:normAutofit/>
          </a:bodyPr>
          <a:lstStyle>
            <a:lvl1pPr>
              <a:lnSpc>
                <a:spcPct val="100000"/>
              </a:lnSpc>
              <a:defRPr sz="2800" b="0" i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902327D-DBD4-7A4E-ABF2-A946A559A8AD}"/>
              </a:ext>
            </a:extLst>
          </p:cNvPr>
          <p:cNvSpPr txBox="1"/>
          <p:nvPr userDrawn="1"/>
        </p:nvSpPr>
        <p:spPr>
          <a:xfrm>
            <a:off x="699948" y="-852137"/>
            <a:ext cx="158937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de-DE" sz="20000" b="1" noProof="0" dirty="0">
                <a:solidFill>
                  <a:schemeClr val="bg1"/>
                </a:solidFill>
              </a:rPr>
              <a:t>„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ACB4ADD-D9F4-984E-B29D-A2CF6D19E810}"/>
              </a:ext>
            </a:extLst>
          </p:cNvPr>
          <p:cNvGrpSpPr/>
          <p:nvPr userDrawn="1"/>
        </p:nvGrpSpPr>
        <p:grpSpPr>
          <a:xfrm>
            <a:off x="6362700" y="0"/>
            <a:ext cx="5829298" cy="3235602"/>
            <a:chOff x="5612972" y="1"/>
            <a:chExt cx="6615961" cy="3672246"/>
          </a:xfrm>
        </p:grpSpPr>
        <p:sp>
          <p:nvSpPr>
            <p:cNvPr id="19" name="AutoForm 24">
              <a:extLst>
                <a:ext uri="{FF2B5EF4-FFF2-40B4-BE49-F238E27FC236}">
                  <a16:creationId xmlns:a16="http://schemas.microsoft.com/office/drawing/2014/main" id="{5017C477-A988-7041-8A67-3D8294D6A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972" y="1"/>
              <a:ext cx="4408998" cy="3672246"/>
            </a:xfrm>
            <a:custGeom>
              <a:avLst/>
              <a:gdLst>
                <a:gd name="T0" fmla="+- 0 8372 6586"/>
                <a:gd name="T1" fmla="*/ T0 w 3578"/>
                <a:gd name="T2" fmla="*/ 591 h 2980"/>
                <a:gd name="T3" fmla="+- 0 7780 6586"/>
                <a:gd name="T4" fmla="*/ T3 w 3578"/>
                <a:gd name="T5" fmla="*/ 0 h 2980"/>
                <a:gd name="T6" fmla="+- 0 6586 6586"/>
                <a:gd name="T7" fmla="*/ T6 w 3578"/>
                <a:gd name="T8" fmla="*/ 0 h 2980"/>
                <a:gd name="T9" fmla="+- 0 7774 6586"/>
                <a:gd name="T10" fmla="*/ T9 w 3578"/>
                <a:gd name="T11" fmla="*/ 1188 h 2980"/>
                <a:gd name="T12" fmla="+- 0 8372 6586"/>
                <a:gd name="T13" fmla="*/ T12 w 3578"/>
                <a:gd name="T14" fmla="*/ 591 h 2980"/>
                <a:gd name="T15" fmla="+- 0 10163 6586"/>
                <a:gd name="T16" fmla="*/ T15 w 3578"/>
                <a:gd name="T17" fmla="*/ 2383 h 2980"/>
                <a:gd name="T18" fmla="+- 0 9566 6586"/>
                <a:gd name="T19" fmla="*/ T18 w 3578"/>
                <a:gd name="T20" fmla="*/ 1786 h 2980"/>
                <a:gd name="T21" fmla="+- 0 8969 6586"/>
                <a:gd name="T22" fmla="*/ T21 w 3578"/>
                <a:gd name="T23" fmla="*/ 2383 h 2980"/>
                <a:gd name="T24" fmla="+- 0 9566 6586"/>
                <a:gd name="T25" fmla="*/ T24 w 3578"/>
                <a:gd name="T26" fmla="*/ 2980 h 2980"/>
                <a:gd name="T27" fmla="+- 0 10163 6586"/>
                <a:gd name="T28" fmla="*/ T27 w 3578"/>
                <a:gd name="T29" fmla="*/ 2383 h 298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  <a:cxn ang="0">
                  <a:pos x="T19" y="T20"/>
                </a:cxn>
                <a:cxn ang="0">
                  <a:pos x="T22" y="T23"/>
                </a:cxn>
                <a:cxn ang="0">
                  <a:pos x="T25" y="T26"/>
                </a:cxn>
                <a:cxn ang="0">
                  <a:pos x="T28" y="T29"/>
                </a:cxn>
              </a:cxnLst>
              <a:rect l="0" t="0" r="r" b="b"/>
              <a:pathLst>
                <a:path w="3578" h="2980">
                  <a:moveTo>
                    <a:pt x="1786" y="591"/>
                  </a:moveTo>
                  <a:lnTo>
                    <a:pt x="1194" y="0"/>
                  </a:lnTo>
                  <a:lnTo>
                    <a:pt x="0" y="0"/>
                  </a:lnTo>
                  <a:lnTo>
                    <a:pt x="1188" y="1188"/>
                  </a:lnTo>
                  <a:lnTo>
                    <a:pt x="1786" y="591"/>
                  </a:lnTo>
                  <a:moveTo>
                    <a:pt x="3577" y="2383"/>
                  </a:moveTo>
                  <a:lnTo>
                    <a:pt x="2980" y="1786"/>
                  </a:lnTo>
                  <a:lnTo>
                    <a:pt x="2383" y="2383"/>
                  </a:lnTo>
                  <a:lnTo>
                    <a:pt x="2980" y="2980"/>
                  </a:lnTo>
                  <a:lnTo>
                    <a:pt x="3577" y="2383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0" name="Freihandform 19">
              <a:extLst>
                <a:ext uri="{FF2B5EF4-FFF2-40B4-BE49-F238E27FC236}">
                  <a16:creationId xmlns:a16="http://schemas.microsoft.com/office/drawing/2014/main" id="{206D7F37-5DD1-A24E-9CCA-84B2A1685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233" y="1463970"/>
              <a:ext cx="2208196" cy="2208277"/>
            </a:xfrm>
            <a:custGeom>
              <a:avLst/>
              <a:gdLst>
                <a:gd name="T0" fmla="+- 0 7774 7177"/>
                <a:gd name="T1" fmla="*/ T0 w 1792"/>
                <a:gd name="T2" fmla="+- 0 1188 1188"/>
                <a:gd name="T3" fmla="*/ 1188 h 1792"/>
                <a:gd name="T4" fmla="+- 0 7177 7177"/>
                <a:gd name="T5" fmla="*/ T4 w 1792"/>
                <a:gd name="T6" fmla="+- 0 1786 1188"/>
                <a:gd name="T7" fmla="*/ 1786 h 1792"/>
                <a:gd name="T8" fmla="+- 0 8372 7177"/>
                <a:gd name="T9" fmla="*/ T8 w 1792"/>
                <a:gd name="T10" fmla="+- 0 2980 1188"/>
                <a:gd name="T11" fmla="*/ 2980 h 1792"/>
                <a:gd name="T12" fmla="+- 0 8969 7177"/>
                <a:gd name="T13" fmla="*/ T12 w 1792"/>
                <a:gd name="T14" fmla="+- 0 2383 1188"/>
                <a:gd name="T15" fmla="*/ 2383 h 1792"/>
                <a:gd name="T16" fmla="+- 0 7774 7177"/>
                <a:gd name="T17" fmla="*/ T16 w 1792"/>
                <a:gd name="T18" fmla="+- 0 1188 1188"/>
                <a:gd name="T19" fmla="*/ 1188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7" y="0"/>
                  </a:moveTo>
                  <a:lnTo>
                    <a:pt x="0" y="598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1" name="Freihandform 20">
              <a:extLst>
                <a:ext uri="{FF2B5EF4-FFF2-40B4-BE49-F238E27FC236}">
                  <a16:creationId xmlns:a16="http://schemas.microsoft.com/office/drawing/2014/main" id="{A6E321C8-096C-1B41-B14F-4CA7AE04B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5590" y="1"/>
              <a:ext cx="1457754" cy="729520"/>
            </a:xfrm>
            <a:custGeom>
              <a:avLst/>
              <a:gdLst>
                <a:gd name="T0" fmla="+- 0 10158 8975"/>
                <a:gd name="T1" fmla="*/ T0 w 1183"/>
                <a:gd name="T2" fmla="*/ 0 h 592"/>
                <a:gd name="T3" fmla="+- 0 8975 8975"/>
                <a:gd name="T4" fmla="*/ T3 w 1183"/>
                <a:gd name="T5" fmla="*/ 0 h 592"/>
                <a:gd name="T6" fmla="+- 0 9566 8975"/>
                <a:gd name="T7" fmla="*/ T6 w 1183"/>
                <a:gd name="T8" fmla="*/ 591 h 592"/>
                <a:gd name="T9" fmla="+- 0 10158 8975"/>
                <a:gd name="T10" fmla="*/ T9 w 1183"/>
                <a:gd name="T11" fmla="*/ 0 h 592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183" h="592">
                  <a:moveTo>
                    <a:pt x="1183" y="0"/>
                  </a:moveTo>
                  <a:lnTo>
                    <a:pt x="0" y="0"/>
                  </a:lnTo>
                  <a:lnTo>
                    <a:pt x="591" y="591"/>
                  </a:lnTo>
                  <a:lnTo>
                    <a:pt x="11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2" name="Freihandform 21">
              <a:extLst>
                <a:ext uri="{FF2B5EF4-FFF2-40B4-BE49-F238E27FC236}">
                  <a16:creationId xmlns:a16="http://schemas.microsoft.com/office/drawing/2014/main" id="{32B3FDD4-EB13-F44F-99D0-BFAB06F00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887" y="728289"/>
              <a:ext cx="2208196" cy="2208277"/>
            </a:xfrm>
            <a:custGeom>
              <a:avLst/>
              <a:gdLst>
                <a:gd name="T0" fmla="+- 0 8372 7774"/>
                <a:gd name="T1" fmla="*/ T0 w 1792"/>
                <a:gd name="T2" fmla="+- 0 591 591"/>
                <a:gd name="T3" fmla="*/ 591 h 1792"/>
                <a:gd name="T4" fmla="+- 0 7774 7774"/>
                <a:gd name="T5" fmla="*/ T4 w 1792"/>
                <a:gd name="T6" fmla="+- 0 1188 591"/>
                <a:gd name="T7" fmla="*/ 1188 h 1792"/>
                <a:gd name="T8" fmla="+- 0 8969 7774"/>
                <a:gd name="T9" fmla="*/ T8 w 1792"/>
                <a:gd name="T10" fmla="+- 0 2383 591"/>
                <a:gd name="T11" fmla="*/ 2383 h 1792"/>
                <a:gd name="T12" fmla="+- 0 9566 7774"/>
                <a:gd name="T13" fmla="*/ T12 w 1792"/>
                <a:gd name="T14" fmla="+- 0 1786 591"/>
                <a:gd name="T15" fmla="*/ 1786 h 1792"/>
                <a:gd name="T16" fmla="+- 0 8372 7774"/>
                <a:gd name="T17" fmla="*/ T16 w 1792"/>
                <a:gd name="T18" fmla="+- 0 591 591"/>
                <a:gd name="T19" fmla="*/ 591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8" y="0"/>
                  </a:moveTo>
                  <a:lnTo>
                    <a:pt x="0" y="597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3" name="Freihandform 22">
              <a:extLst>
                <a:ext uri="{FF2B5EF4-FFF2-40B4-BE49-F238E27FC236}">
                  <a16:creationId xmlns:a16="http://schemas.microsoft.com/office/drawing/2014/main" id="{A20BCBD2-A735-0C43-8C55-B384372AC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083" y="728289"/>
              <a:ext cx="2943850" cy="2943958"/>
            </a:xfrm>
            <a:custGeom>
              <a:avLst/>
              <a:gdLst>
                <a:gd name="T0" fmla="+- 0 11955 9566"/>
                <a:gd name="T1" fmla="*/ T0 w 2389"/>
                <a:gd name="T2" fmla="+- 0 1786 591"/>
                <a:gd name="T3" fmla="*/ 1786 h 2389"/>
                <a:gd name="T4" fmla="+- 0 10760 9566"/>
                <a:gd name="T5" fmla="*/ T4 w 2389"/>
                <a:gd name="T6" fmla="+- 0 591 591"/>
                <a:gd name="T7" fmla="*/ 591 h 2389"/>
                <a:gd name="T8" fmla="+- 0 9566 9566"/>
                <a:gd name="T9" fmla="*/ T8 w 2389"/>
                <a:gd name="T10" fmla="+- 0 1786 591"/>
                <a:gd name="T11" fmla="*/ 1786 h 2389"/>
                <a:gd name="T12" fmla="+- 0 10760 9566"/>
                <a:gd name="T13" fmla="*/ T12 w 2389"/>
                <a:gd name="T14" fmla="+- 0 2980 591"/>
                <a:gd name="T15" fmla="*/ 2980 h 2389"/>
                <a:gd name="T16" fmla="+- 0 11955 9566"/>
                <a:gd name="T17" fmla="*/ T16 w 2389"/>
                <a:gd name="T18" fmla="+- 0 1786 591"/>
                <a:gd name="T19" fmla="*/ 1786 h 238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2389" h="2389">
                  <a:moveTo>
                    <a:pt x="2389" y="1195"/>
                  </a:moveTo>
                  <a:lnTo>
                    <a:pt x="1194" y="0"/>
                  </a:lnTo>
                  <a:lnTo>
                    <a:pt x="0" y="1195"/>
                  </a:lnTo>
                  <a:lnTo>
                    <a:pt x="1194" y="2389"/>
                  </a:lnTo>
                  <a:lnTo>
                    <a:pt x="2389" y="1195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669A90A7-BF26-684E-8C8B-638053DA1234}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25" name="Freihandform 24">
              <a:extLst>
                <a:ext uri="{FF2B5EF4-FFF2-40B4-BE49-F238E27FC236}">
                  <a16:creationId xmlns:a16="http://schemas.microsoft.com/office/drawing/2014/main" id="{861D8E86-886A-8744-BC4C-FE82B0243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6" name="Freihandform 25">
              <a:extLst>
                <a:ext uri="{FF2B5EF4-FFF2-40B4-BE49-F238E27FC236}">
                  <a16:creationId xmlns:a16="http://schemas.microsoft.com/office/drawing/2014/main" id="{2D967470-E96E-8843-AAD2-E0C8B8077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7" name="Freihandform 26">
              <a:extLst>
                <a:ext uri="{FF2B5EF4-FFF2-40B4-BE49-F238E27FC236}">
                  <a16:creationId xmlns:a16="http://schemas.microsoft.com/office/drawing/2014/main" id="{C8A27D09-765D-3949-BCCA-238C3514D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447829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 userDrawn="1">
          <p15:clr>
            <a:srgbClr val="FBAE40"/>
          </p15:clr>
        </p15:guide>
        <p15:guide id="3" pos="2880" userDrawn="1">
          <p15:clr>
            <a:srgbClr val="FBAE40"/>
          </p15:clr>
        </p15:guide>
        <p15:guide id="4" pos="5160" userDrawn="1">
          <p15:clr>
            <a:srgbClr val="FBAE40"/>
          </p15:clr>
        </p15:guide>
        <p15:guide id="5" pos="2520" userDrawn="1">
          <p15:clr>
            <a:srgbClr val="FBAE40"/>
          </p15:clr>
        </p15:guide>
        <p15:guide id="6" pos="4800" userDrawn="1">
          <p15:clr>
            <a:srgbClr val="FBAE40"/>
          </p15:clr>
        </p15:guide>
        <p15:guide id="7" orient="horz" pos="1560">
          <p15:clr>
            <a:srgbClr val="FBAE40"/>
          </p15:clr>
        </p15:guide>
        <p15:guide id="8" orient="horz" pos="1752" userDrawn="1">
          <p15:clr>
            <a:srgbClr val="FBAE40"/>
          </p15:clr>
        </p15:guide>
        <p15:guide id="9" orient="horz" pos="124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A7D9F21A-75CF-6045-8FA1-C4F4E21B699C}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26" name="Freihandform 25">
              <a:extLst>
                <a:ext uri="{FF2B5EF4-FFF2-40B4-BE49-F238E27FC236}">
                  <a16:creationId xmlns:a16="http://schemas.microsoft.com/office/drawing/2014/main" id="{AEA7E377-BB07-FA43-B532-10A92EE03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7" name="Freihandform 26">
              <a:extLst>
                <a:ext uri="{FF2B5EF4-FFF2-40B4-BE49-F238E27FC236}">
                  <a16:creationId xmlns:a16="http://schemas.microsoft.com/office/drawing/2014/main" id="{F18DE645-B3D5-2F4E-AAD6-002FEF13A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36" name="Freihandform 35">
              <a:extLst>
                <a:ext uri="{FF2B5EF4-FFF2-40B4-BE49-F238E27FC236}">
                  <a16:creationId xmlns:a16="http://schemas.microsoft.com/office/drawing/2014/main" id="{B90F6499-BA50-2340-A026-32C79B6BF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  <p:sp>
        <p:nvSpPr>
          <p:cNvPr id="38" name="Bildplatzhalter 25">
            <a:extLst>
              <a:ext uri="{FF2B5EF4-FFF2-40B4-BE49-F238E27FC236}">
                <a16:creationId xmlns:a16="http://schemas.microsoft.com/office/drawing/2014/main" id="{2274C164-503B-E746-A155-849A9BC2406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268" y="2572883"/>
            <a:ext cx="2118245" cy="2037217"/>
          </a:xfrm>
          <a:prstGeom prst="rect">
            <a:avLst/>
          </a:prstGeom>
        </p:spPr>
        <p:txBody>
          <a:bodyPr rtlCol="0"/>
          <a:lstStyle/>
          <a:p>
            <a:pPr rt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61" name="Titel 1">
            <a:extLst>
              <a:ext uri="{FF2B5EF4-FFF2-40B4-BE49-F238E27FC236}">
                <a16:creationId xmlns:a16="http://schemas.microsoft.com/office/drawing/2014/main" id="{E2F20AFE-B282-5146-B0D6-F2FC1B6D30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022" y="879063"/>
            <a:ext cx="7532277" cy="610863"/>
          </a:xfrm>
          <a:prstGeom prst="rect">
            <a:avLst/>
          </a:prstGeom>
        </p:spPr>
        <p:txBody>
          <a:bodyPr lIns="0" tIns="0" rIns="0" bIns="0" rtlCol="0" anchor="b" anchorCtr="0">
            <a:norm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de-DE" noProof="0"/>
              <a:t>Mastertitelformat bearbeiten</a:t>
            </a:r>
            <a:endParaRPr lang="de-DE" noProof="0" dirty="0"/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F777D2F0-DE3F-8343-B97A-E7FA440532FD}"/>
              </a:ext>
            </a:extLst>
          </p:cNvPr>
          <p:cNvCxnSpPr>
            <a:cxnSpLocks/>
          </p:cNvCxnSpPr>
          <p:nvPr userDrawn="1"/>
        </p:nvCxnSpPr>
        <p:spPr>
          <a:xfrm>
            <a:off x="952500" y="1939108"/>
            <a:ext cx="2133600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Bildplatzhalter 25">
            <a:extLst>
              <a:ext uri="{FF2B5EF4-FFF2-40B4-BE49-F238E27FC236}">
                <a16:creationId xmlns:a16="http://schemas.microsoft.com/office/drawing/2014/main" id="{AF1B5ED8-33F6-FB44-AA92-F0D227BB310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658280" y="2572883"/>
            <a:ext cx="2118245" cy="2037217"/>
          </a:xfrm>
          <a:prstGeom prst="rect">
            <a:avLst/>
          </a:prstGeom>
        </p:spPr>
        <p:txBody>
          <a:bodyPr rtlCol="0"/>
          <a:lstStyle/>
          <a:p>
            <a:pPr rt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72" name="Textplatzhalter 29">
            <a:extLst>
              <a:ext uri="{FF2B5EF4-FFF2-40B4-BE49-F238E27FC236}">
                <a16:creationId xmlns:a16="http://schemas.microsoft.com/office/drawing/2014/main" id="{0D824BDD-2D23-C943-8FE9-60B7B23B5E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52500" y="5393169"/>
            <a:ext cx="2133600" cy="369332"/>
          </a:xfrm>
        </p:spPr>
        <p:txBody>
          <a:bodyPr lIns="0" tIns="0" rIns="0" bIns="0" rtlCol="0">
            <a:noAutofit/>
          </a:bodyPr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73" name="Textplatzhalter 29">
            <a:extLst>
              <a:ext uri="{FF2B5EF4-FFF2-40B4-BE49-F238E27FC236}">
                <a16:creationId xmlns:a16="http://schemas.microsoft.com/office/drawing/2014/main" id="{2F3D441E-DFB1-084B-8192-C6CBECCA40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52500" y="4986745"/>
            <a:ext cx="2133600" cy="205837"/>
          </a:xfrm>
        </p:spPr>
        <p:txBody>
          <a:bodyPr lIns="0" tIns="0" rIns="0" bIns="0" rtlCol="0">
            <a:noAutofit/>
          </a:bodyPr>
          <a:lstStyle>
            <a:lvl1pPr marL="0" indent="0">
              <a:spcBef>
                <a:spcPts val="400"/>
              </a:spcBef>
              <a:buNone/>
              <a:defRPr sz="1800" b="0" i="0" spc="0" baseline="0">
                <a:solidFill>
                  <a:schemeClr val="bg1"/>
                </a:solidFill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74" name="Textplatzhalter 29">
            <a:extLst>
              <a:ext uri="{FF2B5EF4-FFF2-40B4-BE49-F238E27FC236}">
                <a16:creationId xmlns:a16="http://schemas.microsoft.com/office/drawing/2014/main" id="{25797825-E7AE-2C41-A965-E6F0D70D97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63042" y="5393169"/>
            <a:ext cx="2128157" cy="369332"/>
          </a:xfrm>
        </p:spPr>
        <p:txBody>
          <a:bodyPr lIns="0" tIns="0" rIns="0" bIns="0" rtlCol="0">
            <a:noAutofit/>
          </a:bodyPr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75" name="Textplatzhalter 29">
            <a:extLst>
              <a:ext uri="{FF2B5EF4-FFF2-40B4-BE49-F238E27FC236}">
                <a16:creationId xmlns:a16="http://schemas.microsoft.com/office/drawing/2014/main" id="{63C1927C-E23B-204E-9F3A-2A67D2BF70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63042" y="4986745"/>
            <a:ext cx="2128157" cy="205837"/>
          </a:xfrm>
        </p:spPr>
        <p:txBody>
          <a:bodyPr lIns="0" tIns="0" rIns="0" bIns="0" rtlCol="0">
            <a:noAutofit/>
          </a:bodyPr>
          <a:lstStyle>
            <a:lvl1pPr marL="0" indent="0">
              <a:spcBef>
                <a:spcPts val="400"/>
              </a:spcBef>
              <a:buNone/>
              <a:defRPr sz="1800" b="0" i="0" spc="0" baseline="0">
                <a:solidFill>
                  <a:schemeClr val="bg1"/>
                </a:solidFill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76" name="Textplatzhalter 29">
            <a:extLst>
              <a:ext uri="{FF2B5EF4-FFF2-40B4-BE49-F238E27FC236}">
                <a16:creationId xmlns:a16="http://schemas.microsoft.com/office/drawing/2014/main" id="{EC81F0F5-C204-7248-A336-A655814A8A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67054" y="5393169"/>
            <a:ext cx="2129245" cy="369332"/>
          </a:xfrm>
        </p:spPr>
        <p:txBody>
          <a:bodyPr lIns="0" tIns="0" rIns="0" bIns="0" rtlCol="0">
            <a:noAutofit/>
          </a:bodyPr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77" name="Textplatzhalter 29">
            <a:extLst>
              <a:ext uri="{FF2B5EF4-FFF2-40B4-BE49-F238E27FC236}">
                <a16:creationId xmlns:a16="http://schemas.microsoft.com/office/drawing/2014/main" id="{C9FEF82E-4E9C-8343-9D36-C4A00D7137C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367054" y="4986745"/>
            <a:ext cx="2129245" cy="205837"/>
          </a:xfrm>
        </p:spPr>
        <p:txBody>
          <a:bodyPr lIns="0" tIns="0" rIns="0" bIns="0" rtlCol="0">
            <a:noAutofit/>
          </a:bodyPr>
          <a:lstStyle>
            <a:lvl1pPr marL="0" indent="0">
              <a:spcBef>
                <a:spcPts val="400"/>
              </a:spcBef>
              <a:buNone/>
              <a:defRPr sz="1800" b="0" i="0" spc="0" baseline="0">
                <a:solidFill>
                  <a:schemeClr val="bg1"/>
                </a:solidFill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78" name="Textplatzhalter 29">
            <a:extLst>
              <a:ext uri="{FF2B5EF4-FFF2-40B4-BE49-F238E27FC236}">
                <a16:creationId xmlns:a16="http://schemas.microsoft.com/office/drawing/2014/main" id="{F8AF6664-A005-7A42-9AEF-C5AA5603E49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10254" y="5393169"/>
            <a:ext cx="2129245" cy="369332"/>
          </a:xfrm>
        </p:spPr>
        <p:txBody>
          <a:bodyPr lIns="0" tIns="0" rIns="0" bIns="0" rtlCol="0">
            <a:noAutofit/>
          </a:bodyPr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sp>
        <p:nvSpPr>
          <p:cNvPr id="79" name="Textplatzhalter 29">
            <a:extLst>
              <a:ext uri="{FF2B5EF4-FFF2-40B4-BE49-F238E27FC236}">
                <a16:creationId xmlns:a16="http://schemas.microsoft.com/office/drawing/2014/main" id="{5F6C1E52-E2B6-5F45-A863-5BB35ABAFCD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110254" y="4986745"/>
            <a:ext cx="2129245" cy="205837"/>
          </a:xfrm>
        </p:spPr>
        <p:txBody>
          <a:bodyPr lIns="0" tIns="0" rIns="0" bIns="0" rtlCol="0">
            <a:noAutofit/>
          </a:bodyPr>
          <a:lstStyle>
            <a:lvl1pPr marL="0" indent="0">
              <a:spcBef>
                <a:spcPts val="400"/>
              </a:spcBef>
              <a:buNone/>
              <a:defRPr sz="1800" b="0" i="0" spc="0" baseline="0">
                <a:solidFill>
                  <a:schemeClr val="bg1"/>
                </a:solidFill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Mastertextformat bearbeiten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FD0B2D5-B3C2-D847-A220-86CB6A37E418}"/>
              </a:ext>
            </a:extLst>
          </p:cNvPr>
          <p:cNvGrpSpPr/>
          <p:nvPr userDrawn="1"/>
        </p:nvGrpSpPr>
        <p:grpSpPr>
          <a:xfrm>
            <a:off x="6362700" y="0"/>
            <a:ext cx="5829298" cy="3235602"/>
            <a:chOff x="5612972" y="1"/>
            <a:chExt cx="6615961" cy="3672246"/>
          </a:xfrm>
        </p:grpSpPr>
        <p:sp>
          <p:nvSpPr>
            <p:cNvPr id="28" name="AutoForm 24">
              <a:extLst>
                <a:ext uri="{FF2B5EF4-FFF2-40B4-BE49-F238E27FC236}">
                  <a16:creationId xmlns:a16="http://schemas.microsoft.com/office/drawing/2014/main" id="{A7FD25A4-760F-814C-915F-DD6E89CA3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972" y="1"/>
              <a:ext cx="4408998" cy="3672246"/>
            </a:xfrm>
            <a:custGeom>
              <a:avLst/>
              <a:gdLst>
                <a:gd name="T0" fmla="+- 0 8372 6586"/>
                <a:gd name="T1" fmla="*/ T0 w 3578"/>
                <a:gd name="T2" fmla="*/ 591 h 2980"/>
                <a:gd name="T3" fmla="+- 0 7780 6586"/>
                <a:gd name="T4" fmla="*/ T3 w 3578"/>
                <a:gd name="T5" fmla="*/ 0 h 2980"/>
                <a:gd name="T6" fmla="+- 0 6586 6586"/>
                <a:gd name="T7" fmla="*/ T6 w 3578"/>
                <a:gd name="T8" fmla="*/ 0 h 2980"/>
                <a:gd name="T9" fmla="+- 0 7774 6586"/>
                <a:gd name="T10" fmla="*/ T9 w 3578"/>
                <a:gd name="T11" fmla="*/ 1188 h 2980"/>
                <a:gd name="T12" fmla="+- 0 8372 6586"/>
                <a:gd name="T13" fmla="*/ T12 w 3578"/>
                <a:gd name="T14" fmla="*/ 591 h 2980"/>
                <a:gd name="T15" fmla="+- 0 10163 6586"/>
                <a:gd name="T16" fmla="*/ T15 w 3578"/>
                <a:gd name="T17" fmla="*/ 2383 h 2980"/>
                <a:gd name="T18" fmla="+- 0 9566 6586"/>
                <a:gd name="T19" fmla="*/ T18 w 3578"/>
                <a:gd name="T20" fmla="*/ 1786 h 2980"/>
                <a:gd name="T21" fmla="+- 0 8969 6586"/>
                <a:gd name="T22" fmla="*/ T21 w 3578"/>
                <a:gd name="T23" fmla="*/ 2383 h 2980"/>
                <a:gd name="T24" fmla="+- 0 9566 6586"/>
                <a:gd name="T25" fmla="*/ T24 w 3578"/>
                <a:gd name="T26" fmla="*/ 2980 h 2980"/>
                <a:gd name="T27" fmla="+- 0 10163 6586"/>
                <a:gd name="T28" fmla="*/ T27 w 3578"/>
                <a:gd name="T29" fmla="*/ 2383 h 298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  <a:cxn ang="0">
                  <a:pos x="T19" y="T20"/>
                </a:cxn>
                <a:cxn ang="0">
                  <a:pos x="T22" y="T23"/>
                </a:cxn>
                <a:cxn ang="0">
                  <a:pos x="T25" y="T26"/>
                </a:cxn>
                <a:cxn ang="0">
                  <a:pos x="T28" y="T29"/>
                </a:cxn>
              </a:cxnLst>
              <a:rect l="0" t="0" r="r" b="b"/>
              <a:pathLst>
                <a:path w="3578" h="2980">
                  <a:moveTo>
                    <a:pt x="1786" y="591"/>
                  </a:moveTo>
                  <a:lnTo>
                    <a:pt x="1194" y="0"/>
                  </a:lnTo>
                  <a:lnTo>
                    <a:pt x="0" y="0"/>
                  </a:lnTo>
                  <a:lnTo>
                    <a:pt x="1188" y="1188"/>
                  </a:lnTo>
                  <a:lnTo>
                    <a:pt x="1786" y="591"/>
                  </a:lnTo>
                  <a:moveTo>
                    <a:pt x="3577" y="2383"/>
                  </a:moveTo>
                  <a:lnTo>
                    <a:pt x="2980" y="1786"/>
                  </a:lnTo>
                  <a:lnTo>
                    <a:pt x="2383" y="2383"/>
                  </a:lnTo>
                  <a:lnTo>
                    <a:pt x="2980" y="2980"/>
                  </a:lnTo>
                  <a:lnTo>
                    <a:pt x="3577" y="2383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29" name="Freihandform 28">
              <a:extLst>
                <a:ext uri="{FF2B5EF4-FFF2-40B4-BE49-F238E27FC236}">
                  <a16:creationId xmlns:a16="http://schemas.microsoft.com/office/drawing/2014/main" id="{A0CC8369-E81F-D447-87D8-1AF0C58EA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233" y="1463970"/>
              <a:ext cx="2208196" cy="2208277"/>
            </a:xfrm>
            <a:custGeom>
              <a:avLst/>
              <a:gdLst>
                <a:gd name="T0" fmla="+- 0 7774 7177"/>
                <a:gd name="T1" fmla="*/ T0 w 1792"/>
                <a:gd name="T2" fmla="+- 0 1188 1188"/>
                <a:gd name="T3" fmla="*/ 1188 h 1792"/>
                <a:gd name="T4" fmla="+- 0 7177 7177"/>
                <a:gd name="T5" fmla="*/ T4 w 1792"/>
                <a:gd name="T6" fmla="+- 0 1786 1188"/>
                <a:gd name="T7" fmla="*/ 1786 h 1792"/>
                <a:gd name="T8" fmla="+- 0 8372 7177"/>
                <a:gd name="T9" fmla="*/ T8 w 1792"/>
                <a:gd name="T10" fmla="+- 0 2980 1188"/>
                <a:gd name="T11" fmla="*/ 2980 h 1792"/>
                <a:gd name="T12" fmla="+- 0 8969 7177"/>
                <a:gd name="T13" fmla="*/ T12 w 1792"/>
                <a:gd name="T14" fmla="+- 0 2383 1188"/>
                <a:gd name="T15" fmla="*/ 2383 h 1792"/>
                <a:gd name="T16" fmla="+- 0 7774 7177"/>
                <a:gd name="T17" fmla="*/ T16 w 1792"/>
                <a:gd name="T18" fmla="+- 0 1188 1188"/>
                <a:gd name="T19" fmla="*/ 1188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7" y="0"/>
                  </a:moveTo>
                  <a:lnTo>
                    <a:pt x="0" y="598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30" name="Freihandform 29">
              <a:extLst>
                <a:ext uri="{FF2B5EF4-FFF2-40B4-BE49-F238E27FC236}">
                  <a16:creationId xmlns:a16="http://schemas.microsoft.com/office/drawing/2014/main" id="{C41CA81E-EF54-D048-8775-CD4AB37A7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5590" y="1"/>
              <a:ext cx="1457754" cy="729520"/>
            </a:xfrm>
            <a:custGeom>
              <a:avLst/>
              <a:gdLst>
                <a:gd name="T0" fmla="+- 0 10158 8975"/>
                <a:gd name="T1" fmla="*/ T0 w 1183"/>
                <a:gd name="T2" fmla="*/ 0 h 592"/>
                <a:gd name="T3" fmla="+- 0 8975 8975"/>
                <a:gd name="T4" fmla="*/ T3 w 1183"/>
                <a:gd name="T5" fmla="*/ 0 h 592"/>
                <a:gd name="T6" fmla="+- 0 9566 8975"/>
                <a:gd name="T7" fmla="*/ T6 w 1183"/>
                <a:gd name="T8" fmla="*/ 591 h 592"/>
                <a:gd name="T9" fmla="+- 0 10158 8975"/>
                <a:gd name="T10" fmla="*/ T9 w 1183"/>
                <a:gd name="T11" fmla="*/ 0 h 592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183" h="592">
                  <a:moveTo>
                    <a:pt x="1183" y="0"/>
                  </a:moveTo>
                  <a:lnTo>
                    <a:pt x="0" y="0"/>
                  </a:lnTo>
                  <a:lnTo>
                    <a:pt x="591" y="591"/>
                  </a:lnTo>
                  <a:lnTo>
                    <a:pt x="11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31" name="Freihandform 30">
              <a:extLst>
                <a:ext uri="{FF2B5EF4-FFF2-40B4-BE49-F238E27FC236}">
                  <a16:creationId xmlns:a16="http://schemas.microsoft.com/office/drawing/2014/main" id="{D95A4B85-923E-B641-B239-2A1999AB2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887" y="728289"/>
              <a:ext cx="2208196" cy="2208277"/>
            </a:xfrm>
            <a:custGeom>
              <a:avLst/>
              <a:gdLst>
                <a:gd name="T0" fmla="+- 0 8372 7774"/>
                <a:gd name="T1" fmla="*/ T0 w 1792"/>
                <a:gd name="T2" fmla="+- 0 591 591"/>
                <a:gd name="T3" fmla="*/ 591 h 1792"/>
                <a:gd name="T4" fmla="+- 0 7774 7774"/>
                <a:gd name="T5" fmla="*/ T4 w 1792"/>
                <a:gd name="T6" fmla="+- 0 1188 591"/>
                <a:gd name="T7" fmla="*/ 1188 h 1792"/>
                <a:gd name="T8" fmla="+- 0 8969 7774"/>
                <a:gd name="T9" fmla="*/ T8 w 1792"/>
                <a:gd name="T10" fmla="+- 0 2383 591"/>
                <a:gd name="T11" fmla="*/ 2383 h 1792"/>
                <a:gd name="T12" fmla="+- 0 9566 7774"/>
                <a:gd name="T13" fmla="*/ T12 w 1792"/>
                <a:gd name="T14" fmla="+- 0 1786 591"/>
                <a:gd name="T15" fmla="*/ 1786 h 1792"/>
                <a:gd name="T16" fmla="+- 0 8372 7774"/>
                <a:gd name="T17" fmla="*/ T16 w 1792"/>
                <a:gd name="T18" fmla="+- 0 591 591"/>
                <a:gd name="T19" fmla="*/ 591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8" y="0"/>
                  </a:moveTo>
                  <a:lnTo>
                    <a:pt x="0" y="597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  <p:sp>
          <p:nvSpPr>
            <p:cNvPr id="32" name="Freihandform 31">
              <a:extLst>
                <a:ext uri="{FF2B5EF4-FFF2-40B4-BE49-F238E27FC236}">
                  <a16:creationId xmlns:a16="http://schemas.microsoft.com/office/drawing/2014/main" id="{501386DC-76EB-F34E-AD0E-22957D3B3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083" y="728289"/>
              <a:ext cx="2943850" cy="2943958"/>
            </a:xfrm>
            <a:custGeom>
              <a:avLst/>
              <a:gdLst>
                <a:gd name="T0" fmla="+- 0 11955 9566"/>
                <a:gd name="T1" fmla="*/ T0 w 2389"/>
                <a:gd name="T2" fmla="+- 0 1786 591"/>
                <a:gd name="T3" fmla="*/ 1786 h 2389"/>
                <a:gd name="T4" fmla="+- 0 10760 9566"/>
                <a:gd name="T5" fmla="*/ T4 w 2389"/>
                <a:gd name="T6" fmla="+- 0 591 591"/>
                <a:gd name="T7" fmla="*/ 591 h 2389"/>
                <a:gd name="T8" fmla="+- 0 9566 9566"/>
                <a:gd name="T9" fmla="*/ T8 w 2389"/>
                <a:gd name="T10" fmla="+- 0 1786 591"/>
                <a:gd name="T11" fmla="*/ 1786 h 2389"/>
                <a:gd name="T12" fmla="+- 0 10760 9566"/>
                <a:gd name="T13" fmla="*/ T12 w 2389"/>
                <a:gd name="T14" fmla="+- 0 2980 591"/>
                <a:gd name="T15" fmla="*/ 2980 h 2389"/>
                <a:gd name="T16" fmla="+- 0 11955 9566"/>
                <a:gd name="T17" fmla="*/ T16 w 2389"/>
                <a:gd name="T18" fmla="+- 0 1786 591"/>
                <a:gd name="T19" fmla="*/ 1786 h 238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2389" h="2389">
                  <a:moveTo>
                    <a:pt x="2389" y="1195"/>
                  </a:moveTo>
                  <a:lnTo>
                    <a:pt x="1194" y="0"/>
                  </a:lnTo>
                  <a:lnTo>
                    <a:pt x="0" y="1195"/>
                  </a:lnTo>
                  <a:lnTo>
                    <a:pt x="1194" y="2389"/>
                  </a:lnTo>
                  <a:lnTo>
                    <a:pt x="2389" y="1195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rtlCol="0" anchor="t" anchorCtr="0" upright="1">
              <a:noAutofit/>
            </a:bodyPr>
            <a:lstStyle/>
            <a:p>
              <a:pPr rtl="0"/>
              <a:endParaRPr lang="de-DE" noProof="0" dirty="0"/>
            </a:p>
          </p:txBody>
        </p:sp>
      </p:grpSp>
      <p:sp>
        <p:nvSpPr>
          <p:cNvPr id="66" name="Bildplatzhalter 25">
            <a:extLst>
              <a:ext uri="{FF2B5EF4-FFF2-40B4-BE49-F238E27FC236}">
                <a16:creationId xmlns:a16="http://schemas.microsoft.com/office/drawing/2014/main" id="{2D21D633-C51E-E94E-BAE3-96F52F76E49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362292" y="2572883"/>
            <a:ext cx="2118245" cy="2037217"/>
          </a:xfrm>
          <a:prstGeom prst="rect">
            <a:avLst/>
          </a:prstGeom>
        </p:spPr>
        <p:txBody>
          <a:bodyPr rtlCol="0"/>
          <a:lstStyle/>
          <a:p>
            <a:pPr rt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69" name="Bildplatzhalter 25">
            <a:extLst>
              <a:ext uri="{FF2B5EF4-FFF2-40B4-BE49-F238E27FC236}">
                <a16:creationId xmlns:a16="http://schemas.microsoft.com/office/drawing/2014/main" id="{639EFA5A-9C69-DF4D-81B7-FA1F8CCCF93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12023" y="2572883"/>
            <a:ext cx="2118245" cy="2037217"/>
          </a:xfrm>
          <a:prstGeom prst="rect">
            <a:avLst/>
          </a:prstGeom>
        </p:spPr>
        <p:txBody>
          <a:bodyPr rtlCol="0"/>
          <a:lstStyle/>
          <a:p>
            <a:pPr rt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ED89364-B1CB-4E72-A6BB-95A34B50661C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 rtlCol="0"/>
          <a:lstStyle/>
          <a:p>
            <a:pPr rtl="0"/>
            <a:fld id="{A893C4B3-1B94-4111-92B2-E61B4DBE9C0B}" type="datetime4">
              <a:rPr lang="de-DE" noProof="0" smtClean="0">
                <a:latin typeface="+mn-lt"/>
              </a:rPr>
              <a:t>7. Februar 2024</a:t>
            </a:fld>
            <a:endParaRPr lang="de-DE" noProof="0" dirty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09328F-B310-4BF3-883E-BA9A39676AF2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 rtlCol="0"/>
          <a:lstStyle/>
          <a:p>
            <a:pPr rtl="0"/>
            <a:r>
              <a:rPr lang="de-DE" noProof="0" dirty="0"/>
              <a:t>Jahresbericht</a:t>
            </a:r>
            <a:endParaRPr lang="de-DE" b="0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4192EF2-9336-43EF-A365-1F54000F7DE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 rtlCol="0"/>
          <a:lstStyle/>
          <a:p>
            <a:pPr rtl="0"/>
            <a:fld id="{294A09A9-5501-47C1-A89A-A340965A2BE2}" type="slidenum">
              <a:rPr lang="de-DE" noProof="0" smtClean="0"/>
              <a:pPr rtl="0"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963624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 userDrawn="1">
          <p15:clr>
            <a:srgbClr val="FBAE40"/>
          </p15:clr>
        </p15:guide>
        <p15:guide id="3" pos="230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1944" userDrawn="1">
          <p15:clr>
            <a:srgbClr val="FBAE40"/>
          </p15:clr>
        </p15:guide>
        <p15:guide id="6" pos="3648" userDrawn="1">
          <p15:clr>
            <a:srgbClr val="FBAE40"/>
          </p15:clr>
        </p15:guide>
        <p15:guide id="7" orient="horz" pos="1392" userDrawn="1">
          <p15:clr>
            <a:srgbClr val="FBAE40"/>
          </p15:clr>
        </p15:guide>
        <p15:guide id="8" orient="horz" pos="552" userDrawn="1">
          <p15:clr>
            <a:srgbClr val="FBAE40"/>
          </p15:clr>
        </p15:guide>
        <p15:guide id="9" orient="horz" pos="1224" userDrawn="1">
          <p15:clr>
            <a:srgbClr val="FBAE40"/>
          </p15:clr>
        </p15:guide>
        <p15:guide id="10" pos="5352" userDrawn="1">
          <p15:clr>
            <a:srgbClr val="FBAE40"/>
          </p15:clr>
        </p15:guide>
        <p15:guide id="11" pos="5736" userDrawn="1">
          <p15:clr>
            <a:srgbClr val="FBAE40"/>
          </p15:clr>
        </p15:guide>
        <p15:guide id="12" orient="horz" pos="2904" userDrawn="1">
          <p15:clr>
            <a:srgbClr val="FBAE40"/>
          </p15:clr>
        </p15:guide>
        <p15:guide id="13" orient="horz" pos="160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itachs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40046AF-E5BF-854D-9986-7C3019770FE7}"/>
              </a:ext>
            </a:extLst>
          </p:cNvPr>
          <p:cNvCxnSpPr>
            <a:cxnSpLocks/>
          </p:cNvCxnSpPr>
          <p:nvPr userDrawn="1"/>
        </p:nvCxnSpPr>
        <p:spPr>
          <a:xfrm flipH="1">
            <a:off x="1045959" y="2213783"/>
            <a:ext cx="2136" cy="1828800"/>
          </a:xfrm>
          <a:prstGeom prst="line">
            <a:avLst/>
          </a:prstGeom>
          <a:ln w="165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76CA14A6-0144-BC49-A8D4-C979D13258C0}"/>
              </a:ext>
            </a:extLst>
          </p:cNvPr>
          <p:cNvCxnSpPr>
            <a:cxnSpLocks/>
          </p:cNvCxnSpPr>
          <p:nvPr userDrawn="1"/>
        </p:nvCxnSpPr>
        <p:spPr>
          <a:xfrm flipH="1">
            <a:off x="6180493" y="2213783"/>
            <a:ext cx="11102" cy="1828800"/>
          </a:xfrm>
          <a:prstGeom prst="line">
            <a:avLst/>
          </a:prstGeom>
          <a:ln w="165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A582FC2-A135-5743-B9C0-6AC7225B42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745623" y="3904712"/>
            <a:ext cx="2136" cy="1828800"/>
          </a:xfrm>
          <a:prstGeom prst="line">
            <a:avLst/>
          </a:prstGeom>
          <a:ln w="165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7C43222-5868-0247-838F-58F4F6C8EE75}"/>
              </a:ext>
            </a:extLst>
          </p:cNvPr>
          <p:cNvCxnSpPr>
            <a:cxnSpLocks/>
          </p:cNvCxnSpPr>
          <p:nvPr userDrawn="1"/>
        </p:nvCxnSpPr>
        <p:spPr>
          <a:xfrm flipH="1">
            <a:off x="3611089" y="3895941"/>
            <a:ext cx="2136" cy="1828800"/>
          </a:xfrm>
          <a:prstGeom prst="line">
            <a:avLst/>
          </a:prstGeom>
          <a:ln w="165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el 1">
            <a:extLst>
              <a:ext uri="{FF2B5EF4-FFF2-40B4-BE49-F238E27FC236}">
                <a16:creationId xmlns:a16="http://schemas.microsoft.com/office/drawing/2014/main" id="{46EEE005-F78A-9D4F-B159-964376C387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023" y="879063"/>
            <a:ext cx="4941477" cy="610863"/>
          </a:xfrm>
          <a:prstGeom prst="rect">
            <a:avLst/>
          </a:prstGeom>
        </p:spPr>
        <p:txBody>
          <a:bodyPr lIns="0" tIns="0" rIns="0" bIns="0" rtlCol="0" anchor="b" anchorCtr="0">
            <a:norm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de-DE" noProof="0"/>
              <a:t>Zum Bearbeiten klicken </a:t>
            </a:r>
          </a:p>
        </p:txBody>
      </p:sp>
      <p:sp>
        <p:nvSpPr>
          <p:cNvPr id="96" name="Textplatzhalter 29">
            <a:extLst>
              <a:ext uri="{FF2B5EF4-FFF2-40B4-BE49-F238E27FC236}">
                <a16:creationId xmlns:a16="http://schemas.microsoft.com/office/drawing/2014/main" id="{FC61536F-8EA7-5A48-AF76-8B0E251BD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96955" y="2934856"/>
            <a:ext cx="2133600" cy="369332"/>
          </a:xfrm>
          <a:ln>
            <a:noFill/>
          </a:ln>
        </p:spPr>
        <p:txBody>
          <a:bodyPr lIns="0" tIns="0" rIns="0" bIns="0" rtlCol="0">
            <a:noAutofit/>
          </a:bodyPr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Zum Bearbeiten klicken </a:t>
            </a:r>
          </a:p>
        </p:txBody>
      </p:sp>
      <p:sp>
        <p:nvSpPr>
          <p:cNvPr id="97" name="Textplatzhalter 29">
            <a:extLst>
              <a:ext uri="{FF2B5EF4-FFF2-40B4-BE49-F238E27FC236}">
                <a16:creationId xmlns:a16="http://schemas.microsoft.com/office/drawing/2014/main" id="{64FFD994-BD97-ED49-8607-286ECBB1CD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6955" y="2568686"/>
            <a:ext cx="2133600" cy="205837"/>
          </a:xfrm>
          <a:ln>
            <a:noFill/>
          </a:ln>
        </p:spPr>
        <p:txBody>
          <a:bodyPr lIns="0" tIns="0" rIns="0" bIns="0" rtlCol="0">
            <a:noAutofit/>
          </a:bodyPr>
          <a:lstStyle>
            <a:lvl1pPr marL="0" indent="0">
              <a:spcBef>
                <a:spcPts val="400"/>
              </a:spcBef>
              <a:buNone/>
              <a:defRPr sz="1800" b="0" i="0" spc="0" baseline="0">
                <a:solidFill>
                  <a:schemeClr val="bg1"/>
                </a:solidFill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Zum Bearbeiten klicken </a:t>
            </a:r>
          </a:p>
        </p:txBody>
      </p:sp>
      <p:sp>
        <p:nvSpPr>
          <p:cNvPr id="102" name="Textplatzhalter 29">
            <a:extLst>
              <a:ext uri="{FF2B5EF4-FFF2-40B4-BE49-F238E27FC236}">
                <a16:creationId xmlns:a16="http://schemas.microsoft.com/office/drawing/2014/main" id="{D1ADE805-BFBC-ED47-B9CB-6CB2FF02E86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897799" y="5087328"/>
            <a:ext cx="2133600" cy="369332"/>
          </a:xfrm>
          <a:ln>
            <a:noFill/>
          </a:ln>
        </p:spPr>
        <p:txBody>
          <a:bodyPr lIns="0" tIns="0" rIns="0" bIns="0" rtlCol="0">
            <a:noAutofit/>
          </a:bodyPr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Zum Bearbeiten klicken </a:t>
            </a:r>
          </a:p>
        </p:txBody>
      </p:sp>
      <p:sp>
        <p:nvSpPr>
          <p:cNvPr id="103" name="Textplatzhalter 29">
            <a:extLst>
              <a:ext uri="{FF2B5EF4-FFF2-40B4-BE49-F238E27FC236}">
                <a16:creationId xmlns:a16="http://schemas.microsoft.com/office/drawing/2014/main" id="{334A3589-641F-F547-891B-149579153B7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97799" y="4701908"/>
            <a:ext cx="2133600" cy="205837"/>
          </a:xfr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400"/>
              </a:spcBef>
              <a:buNone/>
              <a:defRPr lang="en-US" sz="1800" spc="0" baseline="0" dirty="0"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marL="0" lvl="0" indent="0" rtl="0">
              <a:spcBef>
                <a:spcPts val="400"/>
              </a:spcBef>
              <a:buNone/>
            </a:pPr>
            <a:r>
              <a:rPr lang="de-DE" noProof="0"/>
              <a:t>Zum Bearbeiten klicken </a:t>
            </a:r>
          </a:p>
        </p:txBody>
      </p:sp>
      <p:sp>
        <p:nvSpPr>
          <p:cNvPr id="106" name="Textplatzhalter 29">
            <a:extLst>
              <a:ext uri="{FF2B5EF4-FFF2-40B4-BE49-F238E27FC236}">
                <a16:creationId xmlns:a16="http://schemas.microsoft.com/office/drawing/2014/main" id="{A63F8454-D12E-A641-ABD0-8977D3F5EC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01711" y="5087328"/>
            <a:ext cx="2133600" cy="369332"/>
          </a:xfrm>
          <a:ln>
            <a:noFill/>
          </a:ln>
        </p:spPr>
        <p:txBody>
          <a:bodyPr lIns="0" tIns="0" rIns="0" bIns="0" rtlCol="0">
            <a:noAutofit/>
          </a:bodyPr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Zum Bearbeiten klicken </a:t>
            </a:r>
          </a:p>
        </p:txBody>
      </p:sp>
      <p:sp>
        <p:nvSpPr>
          <p:cNvPr id="107" name="Textplatzhalter 29">
            <a:extLst>
              <a:ext uri="{FF2B5EF4-FFF2-40B4-BE49-F238E27FC236}">
                <a16:creationId xmlns:a16="http://schemas.microsoft.com/office/drawing/2014/main" id="{F35AA15D-DBAD-9840-8764-A5B6D486A23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1711" y="4701908"/>
            <a:ext cx="2133600" cy="205837"/>
          </a:xfr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400"/>
              </a:spcBef>
              <a:buNone/>
              <a:defRPr lang="en-US" sz="1800" spc="0" baseline="0" dirty="0"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marL="0" lvl="0" indent="0" rtl="0">
              <a:spcBef>
                <a:spcPts val="400"/>
              </a:spcBef>
              <a:buNone/>
            </a:pPr>
            <a:r>
              <a:rPr lang="de-DE" noProof="0"/>
              <a:t>Zum Bearbeiten klicken </a:t>
            </a:r>
          </a:p>
        </p:txBody>
      </p:sp>
      <p:sp>
        <p:nvSpPr>
          <p:cNvPr id="108" name="Textplatzhalter 29">
            <a:extLst>
              <a:ext uri="{FF2B5EF4-FFF2-40B4-BE49-F238E27FC236}">
                <a16:creationId xmlns:a16="http://schemas.microsoft.com/office/drawing/2014/main" id="{8357CA0F-1A55-B145-8305-562F0DF2254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38143" y="2934856"/>
            <a:ext cx="2133600" cy="369332"/>
          </a:xfrm>
          <a:ln>
            <a:noFill/>
          </a:ln>
        </p:spPr>
        <p:txBody>
          <a:bodyPr lIns="0" tIns="0" rIns="0" bIns="0" rtlCol="0">
            <a:noAutofit/>
          </a:bodyPr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Zum Bearbeiten klicken </a:t>
            </a:r>
          </a:p>
        </p:txBody>
      </p:sp>
      <p:sp>
        <p:nvSpPr>
          <p:cNvPr id="109" name="Textplatzhalter 29">
            <a:extLst>
              <a:ext uri="{FF2B5EF4-FFF2-40B4-BE49-F238E27FC236}">
                <a16:creationId xmlns:a16="http://schemas.microsoft.com/office/drawing/2014/main" id="{D6C49F6F-AF28-8942-8442-8F54A1DC38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38143" y="2568686"/>
            <a:ext cx="2133600" cy="205837"/>
          </a:xfrm>
          <a:ln>
            <a:noFill/>
          </a:ln>
        </p:spPr>
        <p:txBody>
          <a:bodyPr lIns="0" tIns="0" rIns="0" bIns="0" rtlCol="0">
            <a:noAutofit/>
          </a:bodyPr>
          <a:lstStyle>
            <a:lvl1pPr marL="0" indent="0">
              <a:spcBef>
                <a:spcPts val="400"/>
              </a:spcBef>
              <a:buNone/>
              <a:defRPr sz="1800" b="0" i="0" spc="0" baseline="0">
                <a:solidFill>
                  <a:schemeClr val="bg1"/>
                </a:solidFill>
                <a:latin typeface="+mj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 rtl="0"/>
            <a:r>
              <a:rPr lang="de-DE" noProof="0"/>
              <a:t>Zum Bearbeiten klicken 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CE2724A-BCA1-604F-9D18-BF05746408C2}"/>
              </a:ext>
            </a:extLst>
          </p:cNvPr>
          <p:cNvCxnSpPr/>
          <p:nvPr userDrawn="1"/>
        </p:nvCxnSpPr>
        <p:spPr>
          <a:xfrm>
            <a:off x="967689" y="3968780"/>
            <a:ext cx="10275477" cy="0"/>
          </a:xfrm>
          <a:prstGeom prst="line">
            <a:avLst/>
          </a:prstGeom>
          <a:ln w="165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4923D7D1-A9CC-C34C-86FF-43B5C8978712}"/>
              </a:ext>
            </a:extLst>
          </p:cNvPr>
          <p:cNvSpPr/>
          <p:nvPr userDrawn="1"/>
        </p:nvSpPr>
        <p:spPr>
          <a:xfrm>
            <a:off x="964323" y="3883241"/>
            <a:ext cx="163271" cy="1632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6119FF13-13AB-3448-B24E-58E18B3CE2B6}"/>
              </a:ext>
            </a:extLst>
          </p:cNvPr>
          <p:cNvSpPr/>
          <p:nvPr userDrawn="1"/>
        </p:nvSpPr>
        <p:spPr>
          <a:xfrm>
            <a:off x="3531590" y="3892012"/>
            <a:ext cx="163271" cy="1632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2F8F982-870E-AE44-B0D3-B3313BC48DB7}"/>
              </a:ext>
            </a:extLst>
          </p:cNvPr>
          <p:cNvSpPr/>
          <p:nvPr userDrawn="1"/>
        </p:nvSpPr>
        <p:spPr>
          <a:xfrm>
            <a:off x="6098857" y="3883241"/>
            <a:ext cx="163271" cy="1632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549A137-DB5E-9C40-8C0A-ED607212022C}"/>
              </a:ext>
            </a:extLst>
          </p:cNvPr>
          <p:cNvSpPr/>
          <p:nvPr userDrawn="1"/>
        </p:nvSpPr>
        <p:spPr>
          <a:xfrm>
            <a:off x="8666124" y="3892012"/>
            <a:ext cx="163271" cy="1632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C2552-C347-4C3D-8C92-4A6981227C0E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 rtlCol="0"/>
          <a:lstStyle/>
          <a:p>
            <a:pPr rtl="0"/>
            <a:fld id="{688B1A89-CAFF-404F-B462-159D96DD2862}" type="datetime4">
              <a:rPr lang="de-DE" noProof="0" smtClean="0">
                <a:latin typeface="+mn-lt"/>
              </a:rPr>
              <a:t>7. Februar 2024</a:t>
            </a:fld>
            <a:endParaRPr lang="de-DE" noProof="0">
              <a:latin typeface="+mn-l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5B7C35C-F3E4-4522-8711-16E4F9052C2C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 rtlCol="0"/>
          <a:lstStyle/>
          <a:p>
            <a:pPr rtl="0"/>
            <a:r>
              <a:rPr lang="de-DE" noProof="0"/>
              <a:t>Jahresbericht</a:t>
            </a:r>
            <a:endParaRPr lang="de-DE" b="0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F4D6BAD-56F4-42F1-A2B3-FDB73364FD40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 rtlCol="0"/>
          <a:lstStyle/>
          <a:p>
            <a:pPr rtl="0"/>
            <a:fld id="{294A09A9-5501-47C1-A89A-A340965A2BE2}" type="slidenum">
              <a:rPr lang="de-DE" noProof="0" smtClean="0"/>
              <a:pPr rtl="0"/>
              <a:t>‹Nr.›</a:t>
            </a:fld>
            <a:endParaRPr lang="de-DE" noProof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86155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 userDrawn="1">
          <p15:clr>
            <a:srgbClr val="FBAE40"/>
          </p15:clr>
        </p15:guide>
        <p15:guide id="3" pos="2880" userDrawn="1">
          <p15:clr>
            <a:srgbClr val="FBAE40"/>
          </p15:clr>
        </p15:guide>
        <p15:guide id="4" pos="5160" userDrawn="1">
          <p15:clr>
            <a:srgbClr val="FBAE40"/>
          </p15:clr>
        </p15:guide>
        <p15:guide id="5" pos="2520" userDrawn="1">
          <p15:clr>
            <a:srgbClr val="FBAE40"/>
          </p15:clr>
        </p15:guide>
        <p15:guide id="6" pos="4800" userDrawn="1">
          <p15:clr>
            <a:srgbClr val="FBAE40"/>
          </p15:clr>
        </p15:guide>
        <p15:guide id="7" orient="horz" pos="1224" userDrawn="1">
          <p15:clr>
            <a:srgbClr val="FBAE40"/>
          </p15:clr>
        </p15:guide>
        <p15:guide id="8" orient="horz" pos="3768" userDrawn="1">
          <p15:clr>
            <a:srgbClr val="FBAE40"/>
          </p15:clr>
        </p15:guide>
        <p15:guide id="9" orient="horz" pos="552" userDrawn="1">
          <p15:clr>
            <a:srgbClr val="FBAE40"/>
          </p15:clr>
        </p15:guide>
        <p15:guide id="10" orient="horz" pos="1512" userDrawn="1">
          <p15:clr>
            <a:srgbClr val="FBAE40"/>
          </p15:clr>
        </p15:guide>
        <p15:guide id="11" orient="horz" pos="283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EED84C6-50E6-6C43-8031-AFF6268E0C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71550" y="1825625"/>
            <a:ext cx="103822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de-DE" noProof="0"/>
              <a:t>Textmasterformat durch Klicken bearbeiten</a:t>
            </a:r>
          </a:p>
          <a:p>
            <a:pPr lvl="1" rtl="0"/>
            <a:r>
              <a:rPr lang="de-DE" noProof="0"/>
              <a:t>Zweite Ebene</a:t>
            </a:r>
          </a:p>
          <a:p>
            <a:pPr lvl="2" rtl="0"/>
            <a:r>
              <a:rPr lang="de-DE" noProof="0"/>
              <a:t>Dritte Ebene</a:t>
            </a:r>
          </a:p>
          <a:p>
            <a:pPr lvl="3" rtl="0"/>
            <a:r>
              <a:rPr lang="de-DE" noProof="0"/>
              <a:t>Vierte Ebene</a:t>
            </a:r>
          </a:p>
          <a:p>
            <a:pPr lvl="4" rtl="0"/>
            <a:r>
              <a:rPr lang="de-DE" noProof="0"/>
              <a:t>Fünfte Ebene</a:t>
            </a:r>
          </a:p>
        </p:txBody>
      </p:sp>
      <p:sp>
        <p:nvSpPr>
          <p:cNvPr id="12" name="Titelplatzhalter 11">
            <a:extLst>
              <a:ext uri="{FF2B5EF4-FFF2-40B4-BE49-F238E27FC236}">
                <a16:creationId xmlns:a16="http://schemas.microsoft.com/office/drawing/2014/main" id="{D41FC0AE-253D-D242-9C88-017078F8A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500" y="365125"/>
            <a:ext cx="104013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de-DE" noProof="0"/>
              <a:t>Titelmasterformat durch Klicken bearbeiten</a:t>
            </a:r>
          </a:p>
        </p:txBody>
      </p:sp>
      <p:sp>
        <p:nvSpPr>
          <p:cNvPr id="30" name="Datumsplatzhalter 3">
            <a:extLst>
              <a:ext uri="{FF2B5EF4-FFF2-40B4-BE49-F238E27FC236}">
                <a16:creationId xmlns:a16="http://schemas.microsoft.com/office/drawing/2014/main" id="{EF47083A-6D76-4B4D-87CA-E08E212F78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992120" y="6332220"/>
            <a:ext cx="1313180" cy="24765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0" i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fld id="{31D3D4F0-4E9C-4CC0-8C02-6ECD15887F30}" type="datetime4">
              <a:rPr lang="de-DE" noProof="0" smtClean="0">
                <a:latin typeface="+mn-lt"/>
              </a:rPr>
              <a:t>7. Februar 2024</a:t>
            </a:fld>
            <a:endParaRPr lang="de-DE" noProof="0">
              <a:latin typeface="+mn-lt"/>
            </a:endParaRPr>
          </a:p>
        </p:txBody>
      </p:sp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id="{C9955F1C-C0B1-BA44-8905-6991FA0D1E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4790" y="6332220"/>
            <a:ext cx="1497330" cy="24765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0" i="0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de-DE" noProof="0"/>
              <a:t>Jahresbericht</a:t>
            </a:r>
            <a:endParaRPr lang="de-DE" b="0" noProof="0"/>
          </a:p>
        </p:txBody>
      </p:sp>
      <p:sp>
        <p:nvSpPr>
          <p:cNvPr id="32" name="Foliennummernplatzhalter 5">
            <a:extLst>
              <a:ext uri="{FF2B5EF4-FFF2-40B4-BE49-F238E27FC236}">
                <a16:creationId xmlns:a16="http://schemas.microsoft.com/office/drawing/2014/main" id="{C8ADA0DF-3751-9A48-8A21-59F01C782D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1550" y="6332220"/>
            <a:ext cx="523240" cy="24765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0" i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fld id="{294A09A9-5501-47C1-A89A-A340965A2BE2}" type="slidenum">
              <a:rPr lang="de-DE" noProof="0" smtClean="0"/>
              <a:pPr rtl="0"/>
              <a:t>‹Nr.›</a:t>
            </a:fld>
            <a:endParaRPr lang="de-DE" noProof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158922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93" r:id="rId2"/>
    <p:sldLayoutId id="2147483671" r:id="rId3"/>
    <p:sldLayoutId id="2147483672" r:id="rId4"/>
    <p:sldLayoutId id="2147483673" r:id="rId5"/>
    <p:sldLayoutId id="2147483684" r:id="rId6"/>
    <p:sldLayoutId id="2147483675" r:id="rId7"/>
    <p:sldLayoutId id="2147483676" r:id="rId8"/>
    <p:sldLayoutId id="2147483677" r:id="rId9"/>
    <p:sldLayoutId id="2147483685" r:id="rId10"/>
    <p:sldLayoutId id="2147483688" r:id="rId11"/>
    <p:sldLayoutId id="2147483692" r:id="rId12"/>
    <p:sldLayoutId id="2147483682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spc="100" baseline="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40">
          <p15:clr>
            <a:srgbClr val="547EBF"/>
          </p15:clr>
        </p15:guide>
        <p15:guide id="4" orient="horz" pos="240">
          <p15:clr>
            <a:srgbClr val="547EBF"/>
          </p15:clr>
        </p15:guide>
        <p15:guide id="5" pos="7440">
          <p15:clr>
            <a:srgbClr val="547EBF"/>
          </p15:clr>
        </p15:guide>
        <p15:guide id="6" orient="horz" pos="4080">
          <p15:clr>
            <a:srgbClr val="547EBF"/>
          </p15:clr>
        </p15:guide>
        <p15:guide id="7" pos="600" userDrawn="1">
          <p15:clr>
            <a:srgbClr val="547EBF"/>
          </p15:clr>
        </p15:guide>
        <p15:guide id="8" pos="3720">
          <p15:clr>
            <a:srgbClr val="547EBF"/>
          </p15:clr>
        </p15:guide>
        <p15:guide id="9" pos="2112">
          <p15:clr>
            <a:srgbClr val="547EBF"/>
          </p15:clr>
        </p15:guide>
        <p15:guide id="10" pos="1848">
          <p15:clr>
            <a:srgbClr val="547EBF"/>
          </p15:clr>
        </p15:guide>
        <p15:guide id="11" pos="5568">
          <p15:clr>
            <a:srgbClr val="547EBF"/>
          </p15:clr>
        </p15:guide>
        <p15:guide id="12" pos="5832">
          <p15:clr>
            <a:srgbClr val="547EBF"/>
          </p15:clr>
        </p15:guide>
        <p15:guide id="13" pos="4968">
          <p15:clr>
            <a:srgbClr val="9FCC3B"/>
          </p15:clr>
        </p15:guide>
        <p15:guide id="14" pos="5208">
          <p15:clr>
            <a:srgbClr val="9FCC3B"/>
          </p15:clr>
        </p15:guide>
        <p15:guide id="15" pos="2712">
          <p15:clr>
            <a:srgbClr val="9FCC3B"/>
          </p15:clr>
        </p15:guide>
        <p15:guide id="16" pos="2472">
          <p15:clr>
            <a:srgbClr val="9FCC3B"/>
          </p15:clr>
        </p15:guide>
        <p15:guide id="17" pos="39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sv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svg"/><Relationship Id="rId10" Type="http://schemas.openxmlformats.org/officeDocument/2006/relationships/image" Target="../media/image12.sv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0FA8D3-8441-8EAF-12B6-993524E6C7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24300" y="2498709"/>
            <a:ext cx="5491571" cy="1514019"/>
          </a:xfrm>
        </p:spPr>
        <p:txBody>
          <a:bodyPr/>
          <a:lstStyle/>
          <a:p>
            <a:r>
              <a:rPr lang="de-DE" dirty="0"/>
              <a:t>Smart Recycling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29C1973-1E88-801A-4E79-AE5BDF630D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00173" y="4359291"/>
            <a:ext cx="5491570" cy="953337"/>
          </a:xfrm>
        </p:spPr>
        <p:txBody>
          <a:bodyPr/>
          <a:lstStyle/>
          <a:p>
            <a:r>
              <a:rPr lang="de-DE" dirty="0"/>
              <a:t>Daniel Gabler</a:t>
            </a:r>
          </a:p>
          <a:p>
            <a:r>
              <a:rPr lang="de-DE" dirty="0"/>
              <a:t>Jonas Gutbrod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FC6BC1F-EE0E-7024-734F-DE3CFBE019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02"/>
          <a:stretch/>
        </p:blipFill>
        <p:spPr>
          <a:xfrm>
            <a:off x="6532797" y="381000"/>
            <a:ext cx="5278203" cy="2568103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9814392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7FC064-CBD1-6887-9DBF-E777C72BA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A2388679-D3EB-098E-E5C9-30385A4624F0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/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90F30D-97F4-68AC-976E-69005D84D10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rtl="0"/>
            <a:fld id="{294A09A9-5501-47C1-A89A-A340965A2BE2}" type="slidenum">
              <a:rPr lang="de-DE" noProof="0" smtClean="0"/>
              <a:pPr rtl="0"/>
              <a:t>2</a:t>
            </a:fld>
            <a:endParaRPr lang="de-DE" noProof="0">
              <a:latin typeface="+mn-lt"/>
            </a:endParaRPr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A46B4153-9F23-424F-70E6-997CA934058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104000" y="1717678"/>
            <a:ext cx="10573389" cy="995809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de-DE" dirty="0">
              <a:latin typeface="+mn-lt"/>
            </a:endParaRPr>
          </a:p>
          <a:p>
            <a:pPr marL="0" lvl="1" indent="0">
              <a:buNone/>
            </a:pPr>
            <a:r>
              <a:rPr lang="de-DE" dirty="0">
                <a:solidFill>
                  <a:sysClr val="windowText" lastClr="000000"/>
                </a:solidFill>
                <a:latin typeface="+mn-lt"/>
              </a:rPr>
              <a:t>Motivation</a:t>
            </a:r>
            <a:endParaRPr lang="de-DE" dirty="0">
              <a:latin typeface="+mn-lt"/>
            </a:endParaRPr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E005A48D-0D44-B32B-E6AE-DD98D92FEAF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04000" y="2837688"/>
            <a:ext cx="10573389" cy="995809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de-DE" dirty="0">
              <a:solidFill>
                <a:sysClr val="windowText" lastClr="000000"/>
              </a:solidFill>
              <a:latin typeface="+mn-lt"/>
            </a:endParaRPr>
          </a:p>
          <a:p>
            <a:pPr marL="0" lvl="1" indent="0">
              <a:buNone/>
            </a:pPr>
            <a:r>
              <a:rPr lang="de-DE" dirty="0">
                <a:solidFill>
                  <a:sysClr val="windowText" lastClr="000000"/>
                </a:solidFill>
                <a:latin typeface="+mn-lt"/>
              </a:rPr>
              <a:t>Zielsetzung</a:t>
            </a: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A196B87F-B53F-2CC7-412E-01B59D904BD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04000" y="4018691"/>
            <a:ext cx="10573389" cy="995809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endParaRPr lang="de-DE" dirty="0">
              <a:latin typeface="+mn-lt"/>
            </a:endParaRPr>
          </a:p>
          <a:p>
            <a:pPr marL="0" lvl="1" indent="0">
              <a:buNone/>
            </a:pPr>
            <a:r>
              <a:rPr lang="de-DE" dirty="0">
                <a:solidFill>
                  <a:sysClr val="windowText" lastClr="000000"/>
                </a:solidFill>
                <a:latin typeface="+mn-lt"/>
              </a:rPr>
              <a:t>Umsetzung</a:t>
            </a:r>
            <a:endParaRPr lang="de-DE" dirty="0">
              <a:latin typeface="+mn-lt"/>
            </a:endParaRPr>
          </a:p>
        </p:txBody>
      </p:sp>
      <p:sp>
        <p:nvSpPr>
          <p:cNvPr id="10" name="ee4pContent1">
            <a:extLst>
              <a:ext uri="{FF2B5EF4-FFF2-40B4-BE49-F238E27FC236}">
                <a16:creationId xmlns:a16="http://schemas.microsoft.com/office/drawing/2014/main" id="{59115A97-55FC-A902-443F-4BCCB23CB9E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104000" y="5170043"/>
            <a:ext cx="10573389" cy="995809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de-DE" dirty="0">
              <a:latin typeface="+mn-lt"/>
            </a:endParaRPr>
          </a:p>
          <a:p>
            <a:pPr marL="0" lvl="1" indent="0">
              <a:buNone/>
            </a:pPr>
            <a:r>
              <a:rPr lang="de-DE">
                <a:solidFill>
                  <a:sysClr val="windowText" lastClr="000000"/>
                </a:solidFill>
                <a:latin typeface="+mn-lt"/>
              </a:rPr>
              <a:t>Demonstration</a:t>
            </a:r>
            <a:endParaRPr lang="de-DE" dirty="0">
              <a:latin typeface="+mn-lt"/>
            </a:endParaRPr>
          </a:p>
        </p:txBody>
      </p:sp>
      <p:sp>
        <p:nvSpPr>
          <p:cNvPr id="11" name="ee4pHeader1">
            <a:extLst>
              <a:ext uri="{FF2B5EF4-FFF2-40B4-BE49-F238E27FC236}">
                <a16:creationId xmlns:a16="http://schemas.microsoft.com/office/drawing/2014/main" id="{A6D90604-610D-A8CD-9956-AB794A050584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 rot="16200000">
            <a:off x="311269" y="1914975"/>
            <a:ext cx="995809" cy="589649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2" name="ee4pHeader2">
            <a:extLst>
              <a:ext uri="{FF2B5EF4-FFF2-40B4-BE49-F238E27FC236}">
                <a16:creationId xmlns:a16="http://schemas.microsoft.com/office/drawing/2014/main" id="{60D89C23-CCA1-E1A5-D436-3EF5B9CE3F3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16200000">
            <a:off x="311269" y="3044479"/>
            <a:ext cx="995809" cy="589649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3" name="ee4pHeader3">
            <a:extLst>
              <a:ext uri="{FF2B5EF4-FFF2-40B4-BE49-F238E27FC236}">
                <a16:creationId xmlns:a16="http://schemas.microsoft.com/office/drawing/2014/main" id="{55020E6B-B314-86D1-A678-E710F2973774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 rot="16200000">
            <a:off x="311269" y="4221769"/>
            <a:ext cx="995809" cy="589649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4" name="ee4pHeader4">
            <a:extLst>
              <a:ext uri="{FF2B5EF4-FFF2-40B4-BE49-F238E27FC236}">
                <a16:creationId xmlns:a16="http://schemas.microsoft.com/office/drawing/2014/main" id="{ADC88E8E-FC58-F5B5-B918-532D04DFA66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 rot="16200000">
            <a:off x="311269" y="5373122"/>
            <a:ext cx="995809" cy="589649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C95C772F-7E63-C246-513B-A88EB5DEB54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992120" y="6332220"/>
            <a:ext cx="1313180" cy="247651"/>
          </a:xfrm>
        </p:spPr>
        <p:txBody>
          <a:bodyPr/>
          <a:lstStyle/>
          <a:p>
            <a:pPr rtl="0"/>
            <a:fld id="{347BF340-3694-4BEF-8041-DEBC2F2F8165}" type="datetime4">
              <a:rPr lang="de-DE" noProof="0" smtClean="0">
                <a:latin typeface="+mn-lt"/>
              </a:rPr>
              <a:t>7. Februar 2024</a:t>
            </a:fld>
            <a:endParaRPr lang="de-DE" noProof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0396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7435159-DEA2-9204-146B-86AAD1B9A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3ED23DB-E5A1-B0D4-0ED4-A2764322800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71549" y="6332220"/>
            <a:ext cx="4054407" cy="247651"/>
          </a:xfrm>
        </p:spPr>
        <p:txBody>
          <a:bodyPr/>
          <a:lstStyle/>
          <a:p>
            <a:pPr rtl="0"/>
            <a:fld id="{294A09A9-5501-47C1-A89A-A340965A2BE2}" type="slidenum">
              <a:rPr lang="de-DE" noProof="0" smtClean="0"/>
              <a:pPr rtl="0"/>
              <a:t>3</a:t>
            </a:fld>
            <a:r>
              <a:rPr lang="de-DE" noProof="0" dirty="0"/>
              <a:t> [1 ] Umweltbundesamt</a:t>
            </a:r>
            <a:endParaRPr lang="de-DE" noProof="0" dirty="0">
              <a:latin typeface="+mn-lt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C8C0678-5879-AEB5-573B-E7676CAE8A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8813" y="1887167"/>
            <a:ext cx="5715000" cy="38100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B9969053-4D61-384A-A7DB-B1179A9C109F}"/>
              </a:ext>
            </a:extLst>
          </p:cNvPr>
          <p:cNvSpPr txBox="1"/>
          <p:nvPr/>
        </p:nvSpPr>
        <p:spPr>
          <a:xfrm>
            <a:off x="6623813" y="885547"/>
            <a:ext cx="543969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39 % </a:t>
            </a:r>
            <a:r>
              <a:rPr lang="de-DE" dirty="0">
                <a:solidFill>
                  <a:schemeClr val="bg1"/>
                </a:solidFill>
              </a:rPr>
              <a:t>zu viel Bioabfall landet in der Restmülltonne</a:t>
            </a:r>
          </a:p>
          <a:p>
            <a:endParaRPr lang="de-DE" dirty="0">
              <a:solidFill>
                <a:schemeClr val="bg1"/>
              </a:solidFill>
            </a:endParaRPr>
          </a:p>
          <a:p>
            <a:r>
              <a:rPr lang="de-DE" dirty="0">
                <a:solidFill>
                  <a:schemeClr val="bg1"/>
                </a:solidFill>
              </a:rPr>
              <a:t>Wertstoffe machen </a:t>
            </a:r>
            <a:r>
              <a:rPr lang="de-DE" b="1" dirty="0">
                <a:solidFill>
                  <a:schemeClr val="bg1"/>
                </a:solidFill>
              </a:rPr>
              <a:t>27,6 % </a:t>
            </a:r>
            <a:r>
              <a:rPr lang="de-DE" dirty="0">
                <a:solidFill>
                  <a:schemeClr val="bg1"/>
                </a:solidFill>
              </a:rPr>
              <a:t>des Restmülls aus. </a:t>
            </a:r>
          </a:p>
          <a:p>
            <a:endParaRPr lang="de-DE" dirty="0">
              <a:solidFill>
                <a:schemeClr val="bg1"/>
              </a:solidFill>
            </a:endParaRPr>
          </a:p>
          <a:p>
            <a:r>
              <a:rPr lang="de-DE" dirty="0">
                <a:solidFill>
                  <a:schemeClr val="bg1"/>
                </a:solidFill>
              </a:rPr>
              <a:t>Problemabfälle machen einen Anteil von </a:t>
            </a:r>
            <a:r>
              <a:rPr lang="de-DE" b="1" dirty="0">
                <a:solidFill>
                  <a:schemeClr val="bg1"/>
                </a:solidFill>
              </a:rPr>
              <a:t>0,5% </a:t>
            </a:r>
            <a:r>
              <a:rPr lang="de-DE" dirty="0">
                <a:solidFill>
                  <a:schemeClr val="bg1"/>
                </a:solidFill>
              </a:rPr>
              <a:t>aus</a:t>
            </a:r>
          </a:p>
          <a:p>
            <a:endParaRPr lang="de-DE" dirty="0">
              <a:solidFill>
                <a:schemeClr val="bg1"/>
              </a:solidFill>
            </a:endParaRPr>
          </a:p>
          <a:p>
            <a:r>
              <a:rPr lang="de-DE" dirty="0">
                <a:solidFill>
                  <a:schemeClr val="bg1"/>
                </a:solidFill>
              </a:rPr>
              <a:t>Abfall der tatsächlich in die Restmülltonne gehört würde einen Anteil von </a:t>
            </a:r>
            <a:r>
              <a:rPr lang="de-DE" b="1" dirty="0">
                <a:solidFill>
                  <a:schemeClr val="bg1"/>
                </a:solidFill>
              </a:rPr>
              <a:t>32,6 % </a:t>
            </a:r>
            <a:r>
              <a:rPr lang="de-DE" dirty="0">
                <a:solidFill>
                  <a:schemeClr val="bg1"/>
                </a:solidFill>
              </a:rPr>
              <a:t>ausmachen.</a:t>
            </a:r>
          </a:p>
          <a:p>
            <a:endParaRPr lang="de-DE" dirty="0">
              <a:solidFill>
                <a:schemeClr val="bg1"/>
              </a:solidFill>
            </a:endParaRPr>
          </a:p>
          <a:p>
            <a:endParaRPr lang="de-DE" dirty="0">
              <a:solidFill>
                <a:schemeClr val="bg1"/>
              </a:solidFill>
            </a:endParaRPr>
          </a:p>
          <a:p>
            <a:r>
              <a:rPr lang="de-DE" dirty="0">
                <a:solidFill>
                  <a:schemeClr val="bg1"/>
                </a:solidFill>
              </a:rPr>
              <a:t>Dies gilt es zu Verbessern. </a:t>
            </a:r>
          </a:p>
          <a:p>
            <a:endParaRPr lang="de-DE" dirty="0">
              <a:solidFill>
                <a:schemeClr val="bg1"/>
              </a:solidFill>
            </a:endParaRPr>
          </a:p>
          <a:p>
            <a:r>
              <a:rPr lang="de-DE" dirty="0">
                <a:solidFill>
                  <a:schemeClr val="bg1"/>
                </a:solidFill>
              </a:rPr>
              <a:t>Lösung: Smart Recycling System, das auf Open Hardware </a:t>
            </a:r>
            <a:r>
              <a:rPr lang="de-DE" dirty="0" err="1">
                <a:solidFill>
                  <a:schemeClr val="bg1"/>
                </a:solidFill>
              </a:rPr>
              <a:t>Association</a:t>
            </a:r>
            <a:r>
              <a:rPr lang="de-DE" dirty="0">
                <a:solidFill>
                  <a:schemeClr val="bg1"/>
                </a:solidFill>
              </a:rPr>
              <a:t> gestellt werden kann.  </a:t>
            </a:r>
          </a:p>
          <a:p>
            <a:endParaRPr lang="de-DE" dirty="0">
              <a:solidFill>
                <a:schemeClr val="bg1"/>
              </a:solidFill>
            </a:endParaRP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118BC00B-EDD3-1C98-A783-08E9C24DA4C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992120" y="6332220"/>
            <a:ext cx="1313180" cy="247651"/>
          </a:xfrm>
        </p:spPr>
        <p:txBody>
          <a:bodyPr/>
          <a:lstStyle/>
          <a:p>
            <a:pPr rtl="0"/>
            <a:fld id="{347BF340-3694-4BEF-8041-DEBC2F2F8165}" type="datetime4">
              <a:rPr lang="de-DE" noProof="0" smtClean="0">
                <a:latin typeface="+mn-lt"/>
              </a:rPr>
              <a:t>7. Februar 2024</a:t>
            </a:fld>
            <a:endParaRPr lang="de-DE" noProof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50078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73A8179-9CF0-4C70-DF8C-271171D52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setzung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4859507-F759-2228-72E7-60B4E143DBA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rtl="0"/>
            <a:fld id="{294A09A9-5501-47C1-A89A-A340965A2BE2}" type="slidenum">
              <a:rPr lang="de-DE" noProof="0" smtClean="0"/>
              <a:pPr rtl="0"/>
              <a:t>4</a:t>
            </a:fld>
            <a:endParaRPr lang="de-DE" noProof="0">
              <a:latin typeface="+mn-lt"/>
            </a:endParaRPr>
          </a:p>
        </p:txBody>
      </p:sp>
      <p:sp>
        <p:nvSpPr>
          <p:cNvPr id="7" name="ee4pContent1">
            <a:extLst>
              <a:ext uri="{FF2B5EF4-FFF2-40B4-BE49-F238E27FC236}">
                <a16:creationId xmlns:a16="http://schemas.microsoft.com/office/drawing/2014/main" id="{2E40B9CB-626B-56CB-BE71-E6A7F9041EE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64023" y="2173969"/>
            <a:ext cx="5510213" cy="3986436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de-DE" dirty="0">
                <a:solidFill>
                  <a:schemeClr val="bg1"/>
                </a:solidFill>
                <a:latin typeface="+mn-lt"/>
              </a:rPr>
              <a:t>Recycling einfach gestalten und für jeden zugänglich machen</a:t>
            </a:r>
          </a:p>
          <a:p>
            <a:pPr lvl="1"/>
            <a:r>
              <a:rPr lang="de-DE" dirty="0">
                <a:solidFill>
                  <a:schemeClr val="bg1"/>
                </a:solidFill>
                <a:latin typeface="+mn-lt"/>
              </a:rPr>
              <a:t>Das deutsche </a:t>
            </a:r>
            <a:r>
              <a:rPr lang="de-DE" dirty="0" err="1">
                <a:solidFill>
                  <a:schemeClr val="bg1"/>
                </a:solidFill>
                <a:latin typeface="+mn-lt"/>
              </a:rPr>
              <a:t>Abfallwirtschaftsystem</a:t>
            </a:r>
            <a:r>
              <a:rPr lang="de-DE" dirty="0">
                <a:solidFill>
                  <a:schemeClr val="bg1"/>
                </a:solidFill>
                <a:latin typeface="+mn-lt"/>
              </a:rPr>
              <a:t> soll durch das System verständlicher gemacht werden</a:t>
            </a:r>
          </a:p>
          <a:p>
            <a:pPr lvl="1"/>
            <a:r>
              <a:rPr lang="de-DE" dirty="0">
                <a:solidFill>
                  <a:schemeClr val="bg1"/>
                </a:solidFill>
                <a:latin typeface="+mn-lt"/>
              </a:rPr>
              <a:t> Für unterschiedliche Personengruppen geeignet sein</a:t>
            </a:r>
          </a:p>
          <a:p>
            <a:pPr lvl="1"/>
            <a:r>
              <a:rPr lang="de-DE" dirty="0">
                <a:solidFill>
                  <a:schemeClr val="bg1"/>
                </a:solidFill>
                <a:latin typeface="+mn-lt"/>
              </a:rPr>
              <a:t>Einfach nach zu bauen </a:t>
            </a:r>
          </a:p>
          <a:p>
            <a:pPr lvl="1"/>
            <a:r>
              <a:rPr lang="de-DE" dirty="0">
                <a:solidFill>
                  <a:schemeClr val="bg1"/>
                </a:solidFill>
                <a:latin typeface="+mn-lt"/>
              </a:rPr>
              <a:t>Die Menge an falsch entsorgten Müll reduzieren</a:t>
            </a:r>
          </a:p>
        </p:txBody>
      </p:sp>
      <p:sp>
        <p:nvSpPr>
          <p:cNvPr id="8" name="ee4pHeader1">
            <a:extLst>
              <a:ext uri="{FF2B5EF4-FFF2-40B4-BE49-F238E27FC236}">
                <a16:creationId xmlns:a16="http://schemas.microsoft.com/office/drawing/2014/main" id="{0A5AD6F6-FD0E-F340-BB07-132FA455C6A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964023" y="1712231"/>
            <a:ext cx="5510213" cy="461738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600" dirty="0">
                <a:solidFill>
                  <a:schemeClr val="bg1"/>
                </a:solidFill>
              </a:rPr>
              <a:t>Ziele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6BFB27EF-9DDB-5084-4663-74B6D0D2FE3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992120" y="6332220"/>
            <a:ext cx="1313180" cy="247651"/>
          </a:xfrm>
        </p:spPr>
        <p:txBody>
          <a:bodyPr/>
          <a:lstStyle/>
          <a:p>
            <a:pPr rtl="0"/>
            <a:fld id="{347BF340-3694-4BEF-8041-DEBC2F2F8165}" type="datetime4">
              <a:rPr lang="de-DE" noProof="0" smtClean="0">
                <a:latin typeface="+mn-lt"/>
              </a:rPr>
              <a:t>7. Februar 2024</a:t>
            </a:fld>
            <a:endParaRPr lang="de-DE" noProof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185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5CC9C2-697D-AB88-5694-95A81FDD1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msetzu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62E4CD-3B82-6EEE-A1A4-DBF2393AC9A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rtl="0"/>
            <a:fld id="{294A09A9-5501-47C1-A89A-A340965A2BE2}" type="slidenum">
              <a:rPr lang="de-DE" noProof="0" smtClean="0"/>
              <a:pPr rtl="0"/>
              <a:t>5</a:t>
            </a:fld>
            <a:endParaRPr lang="de-DE" noProof="0">
              <a:latin typeface="+mn-lt"/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6DBAD9D-A0FF-8DB8-07B7-529916AC6742}"/>
              </a:ext>
            </a:extLst>
          </p:cNvPr>
          <p:cNvGrpSpPr/>
          <p:nvPr/>
        </p:nvGrpSpPr>
        <p:grpSpPr>
          <a:xfrm>
            <a:off x="1911872" y="876300"/>
            <a:ext cx="9599192" cy="5702657"/>
            <a:chOff x="2398255" y="973911"/>
            <a:chExt cx="9599192" cy="5702657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5FD63D88-31CD-9E09-53D1-1612EA9407AA}"/>
                </a:ext>
              </a:extLst>
            </p:cNvPr>
            <p:cNvGrpSpPr/>
            <p:nvPr/>
          </p:nvGrpSpPr>
          <p:grpSpPr>
            <a:xfrm>
              <a:off x="2398255" y="1668678"/>
              <a:ext cx="2183964" cy="2056684"/>
              <a:chOff x="2398255" y="1668678"/>
              <a:chExt cx="2183964" cy="2056684"/>
            </a:xfrm>
          </p:grpSpPr>
          <p:grpSp>
            <p:nvGrpSpPr>
              <p:cNvPr id="18" name="Gruppieren 17">
                <a:extLst>
                  <a:ext uri="{FF2B5EF4-FFF2-40B4-BE49-F238E27FC236}">
                    <a16:creationId xmlns:a16="http://schemas.microsoft.com/office/drawing/2014/main" id="{94321994-106A-2B7F-03B3-F7A987A4341F}"/>
                  </a:ext>
                </a:extLst>
              </p:cNvPr>
              <p:cNvGrpSpPr/>
              <p:nvPr/>
            </p:nvGrpSpPr>
            <p:grpSpPr>
              <a:xfrm>
                <a:off x="4026140" y="1972852"/>
                <a:ext cx="304800" cy="304800"/>
                <a:chOff x="2848022" y="2449503"/>
                <a:chExt cx="304800" cy="304800"/>
              </a:xfrm>
            </p:grpSpPr>
            <p:pic>
              <p:nvPicPr>
                <p:cNvPr id="15" name="Grafik 14">
                  <a:extLst>
                    <a:ext uri="{FF2B5EF4-FFF2-40B4-BE49-F238E27FC236}">
                      <a16:creationId xmlns:a16="http://schemas.microsoft.com/office/drawing/2014/main" id="{1E1A41B5-0B91-35A8-4C0C-BFEAA4CC0F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2848022" y="2449503"/>
                  <a:ext cx="304800" cy="304800"/>
                </a:xfrm>
                <a:prstGeom prst="rect">
                  <a:avLst/>
                </a:prstGeom>
              </p:spPr>
            </p:pic>
            <p:pic>
              <p:nvPicPr>
                <p:cNvPr id="17" name="Grafik 16">
                  <a:extLst>
                    <a:ext uri="{FF2B5EF4-FFF2-40B4-BE49-F238E27FC236}">
                      <a16:creationId xmlns:a16="http://schemas.microsoft.com/office/drawing/2014/main" id="{BA7D1855-5675-E16C-605E-3C561C77EF8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960869" y="2520150"/>
                  <a:ext cx="168583" cy="168583"/>
                </a:xfrm>
                <a:prstGeom prst="rect">
                  <a:avLst/>
                </a:prstGeom>
              </p:spPr>
            </p:pic>
          </p:grpSp>
          <p:pic>
            <p:nvPicPr>
              <p:cNvPr id="27" name="Grafik 26">
                <a:extLst>
                  <a:ext uri="{FF2B5EF4-FFF2-40B4-BE49-F238E27FC236}">
                    <a16:creationId xmlns:a16="http://schemas.microsoft.com/office/drawing/2014/main" id="{11AC6904-49BE-43CF-CF82-EC0E3A00F4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 rot="16200000">
                <a:off x="4000740" y="2655111"/>
                <a:ext cx="353233" cy="353233"/>
              </a:xfrm>
              <a:prstGeom prst="rect">
                <a:avLst/>
              </a:prstGeom>
            </p:spPr>
          </p:pic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AB861863-1B9D-3640-8D9B-17ADC9C981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98255" y="1943100"/>
                <a:ext cx="1707203" cy="11381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434AF624-1C27-E183-178F-C6220953FA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16200000" flipH="1">
                <a:off x="4078798" y="1668678"/>
                <a:ext cx="492579" cy="492579"/>
              </a:xfrm>
              <a:prstGeom prst="rect">
                <a:avLst/>
              </a:prstGeom>
            </p:spPr>
          </p:pic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id="{6DD521B9-F887-BBC8-F088-8E435C88D0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flipH="1">
                <a:off x="4089640" y="2100741"/>
                <a:ext cx="492579" cy="492579"/>
              </a:xfrm>
              <a:prstGeom prst="rect">
                <a:avLst/>
              </a:prstGeom>
            </p:spPr>
          </p:pic>
          <p:pic>
            <p:nvPicPr>
              <p:cNvPr id="23" name="Grafik 22">
                <a:extLst>
                  <a:ext uri="{FF2B5EF4-FFF2-40B4-BE49-F238E27FC236}">
                    <a16:creationId xmlns:a16="http://schemas.microsoft.com/office/drawing/2014/main" id="{0AA88CC9-38AA-EE6E-807F-378AF1267B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8046338">
                <a:off x="3161212" y="3191712"/>
                <a:ext cx="533650" cy="533650"/>
              </a:xfrm>
              <a:prstGeom prst="rect">
                <a:avLst/>
              </a:prstGeom>
            </p:spPr>
          </p:pic>
        </p:grp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75F45650-73AA-FF41-F498-BE9D087377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5053258" y="2033183"/>
              <a:ext cx="353233" cy="353233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4266F43E-1A4A-91DC-D0DE-D0BECA6EB5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787" r="12479"/>
            <a:stretch/>
          </p:blipFill>
          <p:spPr>
            <a:xfrm>
              <a:off x="5341620" y="973911"/>
              <a:ext cx="6655827" cy="5702657"/>
            </a:xfrm>
            <a:prstGeom prst="rect">
              <a:avLst/>
            </a:prstGeom>
          </p:spPr>
        </p:pic>
        <p:cxnSp>
          <p:nvCxnSpPr>
            <p:cNvPr id="30" name="Verbinder: gekrümmt 29">
              <a:extLst>
                <a:ext uri="{FF2B5EF4-FFF2-40B4-BE49-F238E27FC236}">
                  <a16:creationId xmlns:a16="http://schemas.microsoft.com/office/drawing/2014/main" id="{267219D3-C7DE-3767-21C1-6BDBB8A2D367}"/>
                </a:ext>
              </a:extLst>
            </p:cNvPr>
            <p:cNvCxnSpPr>
              <a:cxnSpLocks/>
              <a:stCxn id="27" idx="2"/>
              <a:endCxn id="28" idx="2"/>
            </p:cNvCxnSpPr>
            <p:nvPr/>
          </p:nvCxnSpPr>
          <p:spPr>
            <a:xfrm flipV="1">
              <a:off x="4353973" y="2209800"/>
              <a:ext cx="699285" cy="621927"/>
            </a:xfrm>
            <a:prstGeom prst="curvedConnector3">
              <a:avLst>
                <a:gd name="adj1" fmla="val 50000"/>
              </a:avLst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Datumsplatzhalter 3">
            <a:extLst>
              <a:ext uri="{FF2B5EF4-FFF2-40B4-BE49-F238E27FC236}">
                <a16:creationId xmlns:a16="http://schemas.microsoft.com/office/drawing/2014/main" id="{AD059A93-AE84-D548-87B7-8A176E84BC3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992120" y="6332220"/>
            <a:ext cx="1313180" cy="247651"/>
          </a:xfrm>
        </p:spPr>
        <p:txBody>
          <a:bodyPr/>
          <a:lstStyle/>
          <a:p>
            <a:pPr rtl="0"/>
            <a:fld id="{347BF340-3694-4BEF-8041-DEBC2F2F8165}" type="datetime4">
              <a:rPr lang="de-DE" noProof="0" smtClean="0">
                <a:latin typeface="+mn-lt"/>
              </a:rPr>
              <a:t>7. Februar 2024</a:t>
            </a:fld>
            <a:endParaRPr lang="de-DE" noProof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466912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5E3CC6F-CD69-7D0F-CA85-F31DC0E7D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Arduino &amp; </a:t>
            </a:r>
            <a:br>
              <a:rPr lang="de-DE" dirty="0"/>
            </a:br>
            <a:r>
              <a:rPr lang="de-DE" dirty="0"/>
              <a:t>Raspberry Pi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98967-F4F7-F91F-D12D-BABEFF94481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rtl="0"/>
            <a:fld id="{347BF340-3694-4BEF-8041-DEBC2F2F8165}" type="datetime4">
              <a:rPr lang="de-DE" noProof="0" smtClean="0">
                <a:latin typeface="+mn-lt"/>
              </a:rPr>
              <a:t>7. Februar 2024</a:t>
            </a:fld>
            <a:endParaRPr lang="de-DE" noProof="0" dirty="0">
              <a:latin typeface="+mn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DB0E65-33D5-BC6C-587B-6ACD926D92A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rtl="0"/>
            <a:fld id="{294A09A9-5501-47C1-A89A-A340965A2BE2}" type="slidenum">
              <a:rPr lang="de-DE" noProof="0" smtClean="0"/>
              <a:pPr rtl="0"/>
              <a:t>6</a:t>
            </a:fld>
            <a:endParaRPr lang="de-DE" noProof="0">
              <a:latin typeface="+mn-lt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BBC676BB-3CD1-E0D0-1948-DE237B4FF7B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789" b="7932"/>
          <a:stretch/>
        </p:blipFill>
        <p:spPr>
          <a:xfrm>
            <a:off x="682385" y="2467555"/>
            <a:ext cx="3139557" cy="2495589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397A9B9F-728E-45AE-8988-B21259E3419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790" b="7932"/>
          <a:stretch/>
        </p:blipFill>
        <p:spPr>
          <a:xfrm>
            <a:off x="4801703" y="2449721"/>
            <a:ext cx="3139557" cy="2495589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079689B4-A9DB-5169-9B89-A192C00AD2F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4" r="8039"/>
          <a:stretch/>
        </p:blipFill>
        <p:spPr>
          <a:xfrm>
            <a:off x="8923507" y="2467555"/>
            <a:ext cx="2742954" cy="2495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5032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2C17ACA-0FDF-F53A-8B21-F87F6BC32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Angschlossene</a:t>
            </a:r>
            <a:r>
              <a:rPr lang="de-DE" dirty="0"/>
              <a:t> Müllton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B38017B-1153-BDD3-8950-2F3D2C48AD7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rtl="0"/>
            <a:fld id="{347BF340-3694-4BEF-8041-DEBC2F2F8165}" type="datetime4">
              <a:rPr lang="de-DE" noProof="0" smtClean="0">
                <a:latin typeface="+mn-lt"/>
              </a:rPr>
              <a:t>7. Februar 2024</a:t>
            </a:fld>
            <a:endParaRPr lang="de-DE" noProof="0">
              <a:latin typeface="+mn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14D664-3911-CFF4-2BC0-DE79875843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rtl="0"/>
            <a:fld id="{294A09A9-5501-47C1-A89A-A340965A2BE2}" type="slidenum">
              <a:rPr lang="de-DE" noProof="0" smtClean="0"/>
              <a:pPr rtl="0"/>
              <a:t>7</a:t>
            </a:fld>
            <a:endParaRPr lang="de-DE" noProof="0">
              <a:latin typeface="+mn-lt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D7B313F-3A45-AFEE-F267-8DF0872379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994" y="1649368"/>
            <a:ext cx="7697011" cy="4329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7453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F44BDFB-63B0-40FB-2E02-1A612251D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114B36-07BF-3E4D-D283-AB0C9287D6B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rtl="0"/>
            <a:fld id="{347BF340-3694-4BEF-8041-DEBC2F2F8165}" type="datetime4">
              <a:rPr lang="de-DE" noProof="0" smtClean="0">
                <a:latin typeface="+mn-lt"/>
              </a:rPr>
              <a:t>7. Februar 2024</a:t>
            </a:fld>
            <a:endParaRPr lang="de-DE" noProof="0">
              <a:latin typeface="+mn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6B23950-4E9C-6BF1-612C-0C9F5ED772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rtl="0"/>
            <a:fld id="{294A09A9-5501-47C1-A89A-A340965A2BE2}" type="slidenum">
              <a:rPr lang="de-DE" noProof="0" smtClean="0"/>
              <a:pPr rtl="0"/>
              <a:t>8</a:t>
            </a:fld>
            <a:endParaRPr lang="de-DE" noProof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5635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heme/theme1.xml><?xml version="1.0" encoding="utf-8"?>
<a:theme xmlns:a="http://schemas.openxmlformats.org/drawingml/2006/main" name="Benutzerdefiniert">
  <a:themeElements>
    <a:clrScheme name="Swiss">
      <a:dk1>
        <a:srgbClr val="000000"/>
      </a:dk1>
      <a:lt1>
        <a:srgbClr val="FFFFFF"/>
      </a:lt1>
      <a:dk2>
        <a:srgbClr val="E4E4E4"/>
      </a:dk2>
      <a:lt2>
        <a:srgbClr val="7CA655"/>
      </a:lt2>
      <a:accent1>
        <a:srgbClr val="A9D4DB"/>
      </a:accent1>
      <a:accent2>
        <a:srgbClr val="FBE284"/>
      </a:accent2>
      <a:accent3>
        <a:srgbClr val="4495A2"/>
      </a:accent3>
      <a:accent4>
        <a:srgbClr val="AA5881"/>
      </a:accent4>
      <a:accent5>
        <a:srgbClr val="E06742"/>
      </a:accent5>
      <a:accent6>
        <a:srgbClr val="F9D448"/>
      </a:accent6>
      <a:hlink>
        <a:srgbClr val="4495A2"/>
      </a:hlink>
      <a:folHlink>
        <a:srgbClr val="AA5881"/>
      </a:folHlink>
    </a:clrScheme>
    <a:fontScheme name="Custom 175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72233199.tgt.Office_49129363_TF78853419_Win32_OJ110714667.potx" id="{26A8DC41-7521-4E8A-BB40-82DDDF6580CB}" vid="{96196EC2-C392-482E-BF29-9BD12A62668F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426e97fa315356fffbdcd9876fe988c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14b8f0def80e6d70ce3def20c90759ae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1D20B6E4-879E-4E6C-BDE7-261540CD37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4F21D10-BD83-491A-AAA6-945C2DB1EB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9EC1AB0-9704-404D-B6D3-819D938AC55B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22524B16-B31A-4C15-ADCD-800776D38F96}tf78853419_win32</Template>
  <TotalTime>0</TotalTime>
  <Words>136</Words>
  <Application>Microsoft Office PowerPoint</Application>
  <PresentationFormat>Breitbild</PresentationFormat>
  <Paragraphs>49</Paragraphs>
  <Slides>8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Arial</vt:lpstr>
      <vt:lpstr>Calibri</vt:lpstr>
      <vt:lpstr>Franklin Gothic Book</vt:lpstr>
      <vt:lpstr>Franklin Gothic Demi</vt:lpstr>
      <vt:lpstr>Wingdings</vt:lpstr>
      <vt:lpstr>Benutzerdefiniert</vt:lpstr>
      <vt:lpstr>Smart Recycling </vt:lpstr>
      <vt:lpstr>Agenda</vt:lpstr>
      <vt:lpstr>Motivation</vt:lpstr>
      <vt:lpstr>Zielsetzung </vt:lpstr>
      <vt:lpstr>Umsetzung</vt:lpstr>
      <vt:lpstr>Arduino &amp;  Raspberry Pi</vt:lpstr>
      <vt:lpstr>Angschlossene Mülltonne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Recycling </dc:title>
  <dc:creator>Jonas Gutbrod</dc:creator>
  <cp:lastModifiedBy>Gutbrod, Jonas</cp:lastModifiedBy>
  <cp:revision>1</cp:revision>
  <dcterms:created xsi:type="dcterms:W3CDTF">2024-02-07T16:33:38Z</dcterms:created>
  <dcterms:modified xsi:type="dcterms:W3CDTF">2024-02-07T20:4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